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ppt/notesSlides/notesSlide2.xml" ContentType="application/vnd.openxmlformats-officedocument.presentationml.notesSlide+xml"/>
  <Override PartName="/ppt/theme/themeOverride2.xml" ContentType="application/vnd.openxmlformats-officedocument.themeOverr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heme/themeOverride3.xml" ContentType="application/vnd.openxmlformats-officedocument.themeOverride+xml"/>
  <Override PartName="/ppt/notesSlides/notesSlide4.xml" ContentType="application/vnd.openxmlformats-officedocument.presentationml.notesSlide+xml"/>
  <Override PartName="/ppt/theme/themeOverride4.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notesSlides/notesSlide7.xml" ContentType="application/vnd.openxmlformats-officedocument.presentationml.notesSlide+xml"/>
  <Override PartName="/ppt/tags/tag2.xml" ContentType="application/vnd.openxmlformats-officedocument.presentationml.tags+xml"/>
  <Override PartName="/ppt/notesSlides/notesSlide8.xml" ContentType="application/vnd.openxmlformats-officedocument.presentationml.notesSlide+xml"/>
  <Override PartName="/ppt/tags/tag3.xml" ContentType="application/vnd.openxmlformats-officedocument.presentationml.tags+xml"/>
  <Override PartName="/ppt/notesSlides/notesSlide9.xml" ContentType="application/vnd.openxmlformats-officedocument.presentationml.notesSlide+xml"/>
  <Override PartName="/ppt/tags/tag4.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5"/>
  </p:notesMasterIdLst>
  <p:sldIdLst>
    <p:sldId id="1721" r:id="rId2"/>
    <p:sldId id="387" r:id="rId3"/>
    <p:sldId id="380" r:id="rId4"/>
    <p:sldId id="324" r:id="rId5"/>
    <p:sldId id="292" r:id="rId6"/>
    <p:sldId id="327" r:id="rId7"/>
    <p:sldId id="256" r:id="rId8"/>
    <p:sldId id="1719" r:id="rId9"/>
    <p:sldId id="393" r:id="rId10"/>
    <p:sldId id="392" r:id="rId11"/>
    <p:sldId id="1720" r:id="rId12"/>
    <p:sldId id="330" r:id="rId13"/>
    <p:sldId id="261" r:id="rId14"/>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BC00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159" autoAdjust="0"/>
    <p:restoredTop sz="94660"/>
  </p:normalViewPr>
  <p:slideViewPr>
    <p:cSldViewPr snapToGrid="0">
      <p:cViewPr varScale="1">
        <p:scale>
          <a:sx n="98" d="100"/>
          <a:sy n="98" d="100"/>
        </p:scale>
        <p:origin x="45" y="423"/>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BB6AAD5-BB22-443A-B98E-11707CBE16C9}" type="doc">
      <dgm:prSet loTypeId="urn:microsoft.com/office/officeart/2009/3/layout/IncreasingArrowsProcess" loCatId="process" qsTypeId="urn:microsoft.com/office/officeart/2005/8/quickstyle/simple1" qsCatId="simple" csTypeId="urn:microsoft.com/office/officeart/2005/8/colors/colorful1" csCatId="colorful" phldr="1"/>
      <dgm:spPr/>
      <dgm:t>
        <a:bodyPr/>
        <a:lstStyle/>
        <a:p>
          <a:endParaRPr lang="en-US"/>
        </a:p>
      </dgm:t>
    </dgm:pt>
    <dgm:pt modelId="{37FDA6AE-027B-4120-90CE-09301A415796}">
      <dgm:prSet phldrT="[Text]" custT="1"/>
      <dgm:spPr>
        <a:ln>
          <a:noFill/>
        </a:ln>
      </dgm:spPr>
      <dgm:t>
        <a:bodyPr lIns="540000"/>
        <a:lstStyle/>
        <a:p>
          <a:endParaRPr lang="en-US" sz="1800" b="1" dirty="0">
            <a:solidFill>
              <a:schemeClr val="bg1"/>
            </a:solidFill>
            <a:latin typeface="Aa楷体" panose="02000500000000000000" pitchFamily="2" charset="-122"/>
            <a:sym typeface="YRDZST"/>
          </a:endParaRPr>
        </a:p>
      </dgm:t>
    </dgm:pt>
    <dgm:pt modelId="{F547554B-51EF-4D52-BD83-B530786A53F6}" type="parTrans" cxnId="{97371629-EAFB-49C5-8D4C-1C2CC8EF98DA}">
      <dgm:prSet/>
      <dgm:spPr/>
      <dgm:t>
        <a:bodyPr/>
        <a:lstStyle/>
        <a:p>
          <a:endParaRPr lang="en-US" sz="2400">
            <a:solidFill>
              <a:schemeClr val="bg1"/>
            </a:solidFill>
          </a:endParaRPr>
        </a:p>
      </dgm:t>
    </dgm:pt>
    <dgm:pt modelId="{AACFA7FC-124D-47F0-AAB7-D837F03A13D6}" type="sibTrans" cxnId="{97371629-EAFB-49C5-8D4C-1C2CC8EF98DA}">
      <dgm:prSet/>
      <dgm:spPr>
        <a:ln>
          <a:noFill/>
        </a:ln>
      </dgm:spPr>
      <dgm:t>
        <a:bodyPr/>
        <a:lstStyle/>
        <a:p>
          <a:endParaRPr lang="en-US" sz="2400">
            <a:solidFill>
              <a:schemeClr val="bg1"/>
            </a:solidFill>
          </a:endParaRPr>
        </a:p>
      </dgm:t>
    </dgm:pt>
    <dgm:pt modelId="{839B389E-0F3A-4E44-B6E2-13F1399C142F}">
      <dgm:prSet phldrT="[Text]" custT="1"/>
      <dgm:spPr>
        <a:ln>
          <a:noFill/>
        </a:ln>
      </dgm:spPr>
      <dgm:t>
        <a:bodyPr lIns="540000"/>
        <a:lstStyle/>
        <a:p>
          <a:endParaRPr lang="en-US" sz="1400" b="1" dirty="0">
            <a:solidFill>
              <a:schemeClr val="bg1"/>
            </a:solidFill>
            <a:latin typeface="Aa楷体" panose="02000500000000000000" pitchFamily="2" charset="-122"/>
            <a:sym typeface="YRDZST"/>
          </a:endParaRPr>
        </a:p>
      </dgm:t>
    </dgm:pt>
    <dgm:pt modelId="{9C2D419A-4208-435A-8DFE-59E57C79B927}" type="parTrans" cxnId="{E9F581C8-1891-4557-8FD4-140226A54CF9}">
      <dgm:prSet/>
      <dgm:spPr/>
      <dgm:t>
        <a:bodyPr/>
        <a:lstStyle/>
        <a:p>
          <a:endParaRPr lang="en-US" sz="2400"/>
        </a:p>
      </dgm:t>
    </dgm:pt>
    <dgm:pt modelId="{8F45AFFE-9FF4-4A34-B11A-ED475E2D4999}" type="sibTrans" cxnId="{E9F581C8-1891-4557-8FD4-140226A54CF9}">
      <dgm:prSet/>
      <dgm:spPr/>
      <dgm:t>
        <a:bodyPr/>
        <a:lstStyle/>
        <a:p>
          <a:endParaRPr lang="en-US" sz="2400"/>
        </a:p>
      </dgm:t>
    </dgm:pt>
    <dgm:pt modelId="{8C92A023-B595-4B7E-9FD1-86305B47363F}">
      <dgm:prSet phldrT="[Text]" custT="1"/>
      <dgm:spPr>
        <a:ln>
          <a:noFill/>
        </a:ln>
      </dgm:spPr>
      <dgm:t>
        <a:bodyPr lIns="540000"/>
        <a:lstStyle/>
        <a:p>
          <a:r>
            <a:rPr lang="id-ID" sz="1800" b="1" dirty="0">
              <a:solidFill>
                <a:schemeClr val="bg1"/>
              </a:solidFill>
              <a:latin typeface="Aa楷体" panose="02000500000000000000" pitchFamily="2" charset="-122"/>
              <a:sym typeface="YRDZST"/>
            </a:rPr>
            <a:t> </a:t>
          </a:r>
          <a:endParaRPr lang="en-US" sz="1800" b="1" dirty="0">
            <a:solidFill>
              <a:schemeClr val="bg1"/>
            </a:solidFill>
            <a:latin typeface="Aa楷体" panose="02000500000000000000" pitchFamily="2" charset="-122"/>
            <a:sym typeface="YRDZST"/>
          </a:endParaRPr>
        </a:p>
      </dgm:t>
    </dgm:pt>
    <dgm:pt modelId="{45610BF7-B096-4636-A867-71803911F6BC}" type="sibTrans" cxnId="{6393EA77-6C35-4795-B9F8-BC384CEB01BB}">
      <dgm:prSet/>
      <dgm:spPr>
        <a:ln>
          <a:noFill/>
        </a:ln>
      </dgm:spPr>
      <dgm:t>
        <a:bodyPr/>
        <a:lstStyle/>
        <a:p>
          <a:endParaRPr lang="en-US" sz="2400">
            <a:solidFill>
              <a:schemeClr val="bg1"/>
            </a:solidFill>
          </a:endParaRPr>
        </a:p>
      </dgm:t>
    </dgm:pt>
    <dgm:pt modelId="{126030B6-AD92-4139-8AC7-ED96A61FFA13}" type="parTrans" cxnId="{6393EA77-6C35-4795-B9F8-BC384CEB01BB}">
      <dgm:prSet/>
      <dgm:spPr/>
      <dgm:t>
        <a:bodyPr/>
        <a:lstStyle/>
        <a:p>
          <a:endParaRPr lang="en-US" sz="2400">
            <a:solidFill>
              <a:schemeClr val="bg1"/>
            </a:solidFill>
          </a:endParaRPr>
        </a:p>
      </dgm:t>
    </dgm:pt>
    <dgm:pt modelId="{62F3A35F-EA2B-462C-89DA-224952DBD84B}">
      <dgm:prSet phldrT="[Text]" custT="1"/>
      <dgm:spPr>
        <a:ln>
          <a:noFill/>
        </a:ln>
      </dgm:spPr>
      <dgm:t>
        <a:bodyPr lIns="540000"/>
        <a:lstStyle/>
        <a:p>
          <a:endParaRPr lang="en-US" sz="1800" b="1" dirty="0">
            <a:solidFill>
              <a:schemeClr val="bg1"/>
            </a:solidFill>
            <a:latin typeface="Aa楷体" panose="02000500000000000000" pitchFamily="2" charset="-122"/>
            <a:sym typeface="YRDZST"/>
          </a:endParaRPr>
        </a:p>
      </dgm:t>
    </dgm:pt>
    <dgm:pt modelId="{12A631F8-73E8-4437-A632-1DA4C96C2081}" type="sibTrans" cxnId="{78D5CF50-3633-4A11-9FE0-D306D94A091D}">
      <dgm:prSet/>
      <dgm:spPr>
        <a:ln>
          <a:noFill/>
        </a:ln>
      </dgm:spPr>
      <dgm:t>
        <a:bodyPr/>
        <a:lstStyle/>
        <a:p>
          <a:endParaRPr lang="en-US" sz="2400">
            <a:solidFill>
              <a:schemeClr val="bg1"/>
            </a:solidFill>
          </a:endParaRPr>
        </a:p>
      </dgm:t>
    </dgm:pt>
    <dgm:pt modelId="{68C8E73F-A05A-4DC8-914A-C484D8568F55}" type="parTrans" cxnId="{78D5CF50-3633-4A11-9FE0-D306D94A091D}">
      <dgm:prSet/>
      <dgm:spPr/>
      <dgm:t>
        <a:bodyPr/>
        <a:lstStyle/>
        <a:p>
          <a:endParaRPr lang="en-US" sz="2400">
            <a:solidFill>
              <a:schemeClr val="bg1"/>
            </a:solidFill>
          </a:endParaRPr>
        </a:p>
      </dgm:t>
    </dgm:pt>
    <dgm:pt modelId="{E8D49301-D1F0-4A13-A83B-F63355B3AAB1}" type="pres">
      <dgm:prSet presAssocID="{ABB6AAD5-BB22-443A-B98E-11707CBE16C9}" presName="Name0" presStyleCnt="0">
        <dgm:presLayoutVars>
          <dgm:chMax val="5"/>
          <dgm:chPref val="5"/>
          <dgm:dir/>
          <dgm:animLvl val="lvl"/>
        </dgm:presLayoutVars>
      </dgm:prSet>
      <dgm:spPr/>
    </dgm:pt>
    <dgm:pt modelId="{31D1016D-E845-420A-9D96-2392CF9C71AC}" type="pres">
      <dgm:prSet presAssocID="{62F3A35F-EA2B-462C-89DA-224952DBD84B}" presName="parentText1" presStyleLbl="node1" presStyleIdx="0" presStyleCnt="4" custLinFactNeighborY="7763">
        <dgm:presLayoutVars>
          <dgm:chMax/>
          <dgm:chPref val="3"/>
          <dgm:bulletEnabled val="1"/>
        </dgm:presLayoutVars>
      </dgm:prSet>
      <dgm:spPr/>
    </dgm:pt>
    <dgm:pt modelId="{E704CB68-EE45-47EA-8D6C-9876FC1F6117}" type="pres">
      <dgm:prSet presAssocID="{37FDA6AE-027B-4120-90CE-09301A415796}" presName="parentText2" presStyleLbl="node1" presStyleIdx="1" presStyleCnt="4" custLinFactNeighborY="4388">
        <dgm:presLayoutVars>
          <dgm:chMax/>
          <dgm:chPref val="3"/>
          <dgm:bulletEnabled val="1"/>
        </dgm:presLayoutVars>
      </dgm:prSet>
      <dgm:spPr/>
    </dgm:pt>
    <dgm:pt modelId="{DD6C64AB-DCB9-40B4-9670-E7BC915EEA3A}" type="pres">
      <dgm:prSet presAssocID="{8C92A023-B595-4B7E-9FD1-86305B47363F}" presName="parentText3" presStyleLbl="node1" presStyleIdx="2" presStyleCnt="4" custLinFactNeighborX="0" custLinFactNeighborY="455">
        <dgm:presLayoutVars>
          <dgm:chMax/>
          <dgm:chPref val="3"/>
          <dgm:bulletEnabled val="1"/>
        </dgm:presLayoutVars>
      </dgm:prSet>
      <dgm:spPr/>
    </dgm:pt>
    <dgm:pt modelId="{E125A24A-CC28-4566-AAD9-038B7717D433}" type="pres">
      <dgm:prSet presAssocID="{839B389E-0F3A-4E44-B6E2-13F1399C142F}" presName="parentText4" presStyleLbl="node1" presStyleIdx="3" presStyleCnt="4">
        <dgm:presLayoutVars>
          <dgm:chMax/>
          <dgm:chPref val="3"/>
          <dgm:bulletEnabled val="1"/>
        </dgm:presLayoutVars>
      </dgm:prSet>
      <dgm:spPr/>
    </dgm:pt>
  </dgm:ptLst>
  <dgm:cxnLst>
    <dgm:cxn modelId="{EF2FF724-4ACD-49DF-A900-B1BCBEDA6D34}" type="presOf" srcId="{37FDA6AE-027B-4120-90CE-09301A415796}" destId="{E704CB68-EE45-47EA-8D6C-9876FC1F6117}" srcOrd="0" destOrd="0" presId="urn:microsoft.com/office/officeart/2009/3/layout/IncreasingArrowsProcess"/>
    <dgm:cxn modelId="{97371629-EAFB-49C5-8D4C-1C2CC8EF98DA}" srcId="{ABB6AAD5-BB22-443A-B98E-11707CBE16C9}" destId="{37FDA6AE-027B-4120-90CE-09301A415796}" srcOrd="1" destOrd="0" parTransId="{F547554B-51EF-4D52-BD83-B530786A53F6}" sibTransId="{AACFA7FC-124D-47F0-AAB7-D837F03A13D6}"/>
    <dgm:cxn modelId="{995E4F31-D287-4A7A-8298-794D28435083}" type="presOf" srcId="{839B389E-0F3A-4E44-B6E2-13F1399C142F}" destId="{E125A24A-CC28-4566-AAD9-038B7717D433}" srcOrd="0" destOrd="0" presId="urn:microsoft.com/office/officeart/2009/3/layout/IncreasingArrowsProcess"/>
    <dgm:cxn modelId="{6915616B-C44A-47DA-9721-20012BFFE0AF}" type="presOf" srcId="{8C92A023-B595-4B7E-9FD1-86305B47363F}" destId="{DD6C64AB-DCB9-40B4-9670-E7BC915EEA3A}" srcOrd="0" destOrd="0" presId="urn:microsoft.com/office/officeart/2009/3/layout/IncreasingArrowsProcess"/>
    <dgm:cxn modelId="{78D5CF50-3633-4A11-9FE0-D306D94A091D}" srcId="{ABB6AAD5-BB22-443A-B98E-11707CBE16C9}" destId="{62F3A35F-EA2B-462C-89DA-224952DBD84B}" srcOrd="0" destOrd="0" parTransId="{68C8E73F-A05A-4DC8-914A-C484D8568F55}" sibTransId="{12A631F8-73E8-4437-A632-1DA4C96C2081}"/>
    <dgm:cxn modelId="{6393EA77-6C35-4795-B9F8-BC384CEB01BB}" srcId="{ABB6AAD5-BB22-443A-B98E-11707CBE16C9}" destId="{8C92A023-B595-4B7E-9FD1-86305B47363F}" srcOrd="2" destOrd="0" parTransId="{126030B6-AD92-4139-8AC7-ED96A61FFA13}" sibTransId="{45610BF7-B096-4636-A867-71803911F6BC}"/>
    <dgm:cxn modelId="{E9F581C8-1891-4557-8FD4-140226A54CF9}" srcId="{ABB6AAD5-BB22-443A-B98E-11707CBE16C9}" destId="{839B389E-0F3A-4E44-B6E2-13F1399C142F}" srcOrd="3" destOrd="0" parTransId="{9C2D419A-4208-435A-8DFE-59E57C79B927}" sibTransId="{8F45AFFE-9FF4-4A34-B11A-ED475E2D4999}"/>
    <dgm:cxn modelId="{D6A100DE-CA94-4797-8B69-01B84BE6AF11}" type="presOf" srcId="{62F3A35F-EA2B-462C-89DA-224952DBD84B}" destId="{31D1016D-E845-420A-9D96-2392CF9C71AC}" srcOrd="0" destOrd="0" presId="urn:microsoft.com/office/officeart/2009/3/layout/IncreasingArrowsProcess"/>
    <dgm:cxn modelId="{DAB066EC-3DED-4A93-8E45-481BC7B3E944}" type="presOf" srcId="{ABB6AAD5-BB22-443A-B98E-11707CBE16C9}" destId="{E8D49301-D1F0-4A13-A83B-F63355B3AAB1}" srcOrd="0" destOrd="0" presId="urn:microsoft.com/office/officeart/2009/3/layout/IncreasingArrowsProcess"/>
    <dgm:cxn modelId="{09269531-AFE4-46EF-8FD4-FA64B34F2AE9}" type="presParOf" srcId="{E8D49301-D1F0-4A13-A83B-F63355B3AAB1}" destId="{31D1016D-E845-420A-9D96-2392CF9C71AC}" srcOrd="0" destOrd="0" presId="urn:microsoft.com/office/officeart/2009/3/layout/IncreasingArrowsProcess"/>
    <dgm:cxn modelId="{7A24ECD7-5AB7-4B94-8911-9E418EA8CAAC}" type="presParOf" srcId="{E8D49301-D1F0-4A13-A83B-F63355B3AAB1}" destId="{E704CB68-EE45-47EA-8D6C-9876FC1F6117}" srcOrd="1" destOrd="0" presId="urn:microsoft.com/office/officeart/2009/3/layout/IncreasingArrowsProcess"/>
    <dgm:cxn modelId="{3F9DAF76-080F-4B67-B185-18C77461B8D1}" type="presParOf" srcId="{E8D49301-D1F0-4A13-A83B-F63355B3AAB1}" destId="{DD6C64AB-DCB9-40B4-9670-E7BC915EEA3A}" srcOrd="2" destOrd="0" presId="urn:microsoft.com/office/officeart/2009/3/layout/IncreasingArrowsProcess"/>
    <dgm:cxn modelId="{7C9CEDBD-6560-4E1A-9675-38502AB3754D}" type="presParOf" srcId="{E8D49301-D1F0-4A13-A83B-F63355B3AAB1}" destId="{E125A24A-CC28-4566-AAD9-038B7717D433}" srcOrd="3" destOrd="0" presId="urn:microsoft.com/office/officeart/2009/3/layout/IncreasingArrows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1D1016D-E845-420A-9D96-2392CF9C71AC}">
      <dsp:nvSpPr>
        <dsp:cNvPr id="0" name=""/>
        <dsp:cNvSpPr/>
      </dsp:nvSpPr>
      <dsp:spPr>
        <a:xfrm>
          <a:off x="0" y="567722"/>
          <a:ext cx="5447697" cy="793127"/>
        </a:xfrm>
        <a:prstGeom prst="rightArrow">
          <a:avLst>
            <a:gd name="adj1" fmla="val 50000"/>
            <a:gd name="adj2" fmla="val 50000"/>
          </a:avLst>
        </a:prstGeom>
        <a:solidFill>
          <a:schemeClr val="accent2">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40000" tIns="68580" rIns="254000" bIns="125909" numCol="1" spcCol="1270" anchor="ctr" anchorCtr="0">
          <a:noAutofit/>
        </a:bodyPr>
        <a:lstStyle/>
        <a:p>
          <a:pPr marL="0" lvl="0" indent="0" algn="l" defTabSz="800100">
            <a:lnSpc>
              <a:spcPct val="90000"/>
            </a:lnSpc>
            <a:spcBef>
              <a:spcPct val="0"/>
            </a:spcBef>
            <a:spcAft>
              <a:spcPct val="35000"/>
            </a:spcAft>
            <a:buNone/>
          </a:pPr>
          <a:endParaRPr lang="en-US" sz="1800" b="1" kern="1200" dirty="0">
            <a:solidFill>
              <a:schemeClr val="bg1"/>
            </a:solidFill>
            <a:latin typeface="Aa楷体" panose="02000500000000000000" pitchFamily="2" charset="-122"/>
            <a:sym typeface="YRDZST"/>
          </a:endParaRPr>
        </a:p>
      </dsp:txBody>
      <dsp:txXfrm>
        <a:off x="0" y="766004"/>
        <a:ext cx="5249415" cy="396563"/>
      </dsp:txXfrm>
    </dsp:sp>
    <dsp:sp modelId="{E704CB68-EE45-47EA-8D6C-9876FC1F6117}">
      <dsp:nvSpPr>
        <dsp:cNvPr id="0" name=""/>
        <dsp:cNvSpPr/>
      </dsp:nvSpPr>
      <dsp:spPr>
        <a:xfrm>
          <a:off x="1255694" y="805172"/>
          <a:ext cx="4192003" cy="793127"/>
        </a:xfrm>
        <a:prstGeom prst="rightArrow">
          <a:avLst>
            <a:gd name="adj1" fmla="val 50000"/>
            <a:gd name="adj2" fmla="val 50000"/>
          </a:avLst>
        </a:prstGeom>
        <a:solidFill>
          <a:schemeClr val="accent3">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40000" tIns="68580" rIns="254000" bIns="125909" numCol="1" spcCol="1270" anchor="ctr" anchorCtr="0">
          <a:noAutofit/>
        </a:bodyPr>
        <a:lstStyle/>
        <a:p>
          <a:pPr marL="0" lvl="0" indent="0" algn="l" defTabSz="800100">
            <a:lnSpc>
              <a:spcPct val="90000"/>
            </a:lnSpc>
            <a:spcBef>
              <a:spcPct val="0"/>
            </a:spcBef>
            <a:spcAft>
              <a:spcPct val="35000"/>
            </a:spcAft>
            <a:buNone/>
          </a:pPr>
          <a:endParaRPr lang="en-US" sz="1800" b="1" kern="1200" dirty="0">
            <a:solidFill>
              <a:schemeClr val="bg1"/>
            </a:solidFill>
            <a:latin typeface="Aa楷体" panose="02000500000000000000" pitchFamily="2" charset="-122"/>
            <a:sym typeface="YRDZST"/>
          </a:endParaRPr>
        </a:p>
      </dsp:txBody>
      <dsp:txXfrm>
        <a:off x="1255694" y="1003454"/>
        <a:ext cx="3993721" cy="396563"/>
      </dsp:txXfrm>
    </dsp:sp>
    <dsp:sp modelId="{DD6C64AB-DCB9-40B4-9670-E7BC915EEA3A}">
      <dsp:nvSpPr>
        <dsp:cNvPr id="0" name=""/>
        <dsp:cNvSpPr/>
      </dsp:nvSpPr>
      <dsp:spPr>
        <a:xfrm>
          <a:off x="2511388" y="1038354"/>
          <a:ext cx="2936309" cy="793127"/>
        </a:xfrm>
        <a:prstGeom prst="rightArrow">
          <a:avLst>
            <a:gd name="adj1" fmla="val 50000"/>
            <a:gd name="adj2" fmla="val 50000"/>
          </a:avLst>
        </a:prstGeom>
        <a:solidFill>
          <a:schemeClr val="accent4">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40000" tIns="68580" rIns="254000" bIns="125909" numCol="1" spcCol="1270" anchor="ctr" anchorCtr="0">
          <a:noAutofit/>
        </a:bodyPr>
        <a:lstStyle/>
        <a:p>
          <a:pPr marL="0" lvl="0" indent="0" algn="l" defTabSz="800100">
            <a:lnSpc>
              <a:spcPct val="90000"/>
            </a:lnSpc>
            <a:spcBef>
              <a:spcPct val="0"/>
            </a:spcBef>
            <a:spcAft>
              <a:spcPct val="35000"/>
            </a:spcAft>
            <a:buNone/>
          </a:pPr>
          <a:r>
            <a:rPr lang="id-ID" sz="1800" b="1" kern="1200" dirty="0">
              <a:solidFill>
                <a:schemeClr val="bg1"/>
              </a:solidFill>
              <a:latin typeface="Aa楷体" panose="02000500000000000000" pitchFamily="2" charset="-122"/>
              <a:sym typeface="YRDZST"/>
            </a:rPr>
            <a:t> </a:t>
          </a:r>
          <a:endParaRPr lang="en-US" sz="1800" b="1" kern="1200" dirty="0">
            <a:solidFill>
              <a:schemeClr val="bg1"/>
            </a:solidFill>
            <a:latin typeface="Aa楷体" panose="02000500000000000000" pitchFamily="2" charset="-122"/>
            <a:sym typeface="YRDZST"/>
          </a:endParaRPr>
        </a:p>
      </dsp:txBody>
      <dsp:txXfrm>
        <a:off x="2511388" y="1236636"/>
        <a:ext cx="2738027" cy="396563"/>
      </dsp:txXfrm>
    </dsp:sp>
    <dsp:sp modelId="{E125A24A-CC28-4566-AAD9-038B7717D433}">
      <dsp:nvSpPr>
        <dsp:cNvPr id="0" name=""/>
        <dsp:cNvSpPr/>
      </dsp:nvSpPr>
      <dsp:spPr>
        <a:xfrm>
          <a:off x="3767083" y="1298962"/>
          <a:ext cx="1680614" cy="793127"/>
        </a:xfrm>
        <a:prstGeom prst="rightArrow">
          <a:avLst>
            <a:gd name="adj1" fmla="val 50000"/>
            <a:gd name="adj2" fmla="val 50000"/>
          </a:avLst>
        </a:prstGeom>
        <a:solidFill>
          <a:schemeClr val="accent5">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40000" tIns="53340" rIns="254000" bIns="125909" numCol="1" spcCol="1270" anchor="ctr" anchorCtr="0">
          <a:noAutofit/>
        </a:bodyPr>
        <a:lstStyle/>
        <a:p>
          <a:pPr marL="0" lvl="0" indent="0" algn="l" defTabSz="622300">
            <a:lnSpc>
              <a:spcPct val="90000"/>
            </a:lnSpc>
            <a:spcBef>
              <a:spcPct val="0"/>
            </a:spcBef>
            <a:spcAft>
              <a:spcPct val="35000"/>
            </a:spcAft>
            <a:buNone/>
          </a:pPr>
          <a:endParaRPr lang="en-US" sz="1400" b="1" kern="1200" dirty="0">
            <a:solidFill>
              <a:schemeClr val="bg1"/>
            </a:solidFill>
            <a:latin typeface="Aa楷体" panose="02000500000000000000" pitchFamily="2" charset="-122"/>
            <a:sym typeface="YRDZST"/>
          </a:endParaRPr>
        </a:p>
      </dsp:txBody>
      <dsp:txXfrm>
        <a:off x="3767083" y="1497244"/>
        <a:ext cx="1482332" cy="396563"/>
      </dsp:txXfrm>
    </dsp:sp>
  </dsp:spTree>
</dsp:drawing>
</file>

<file path=ppt/diagrams/layout1.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a楷体" panose="02000500000000000000" pitchFamily="2" charset="-122"/>
                <a:ea typeface="Aa楷体" panose="02000500000000000000" pitchFamily="2" charset="-122"/>
              </a:defRPr>
            </a:lvl1pPr>
          </a:lstStyle>
          <a:p>
            <a:endParaRPr lang="zh-CN" altLang="en-US" dirty="0"/>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a楷体" panose="02000500000000000000" pitchFamily="2" charset="-122"/>
                <a:ea typeface="Aa楷体" panose="02000500000000000000" pitchFamily="2" charset="-122"/>
              </a:defRPr>
            </a:lvl1pPr>
          </a:lstStyle>
          <a:p>
            <a:fld id="{394B077D-C5A5-404D-B861-3DAAB4C69F62}" type="datetimeFigureOut">
              <a:rPr lang="zh-CN" altLang="en-US" smtClean="0"/>
              <a:pPr/>
              <a:t>2024/5/31</a:t>
            </a:fld>
            <a:endParaRPr lang="zh-CN" altLang="en-US" dirty="0"/>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dirty="0"/>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dirty="0"/>
              <a:t>单击此处编辑母版文本样式</a:t>
            </a:r>
          </a:p>
          <a:p>
            <a:pPr lvl="1"/>
            <a:r>
              <a:rPr lang="zh-CN" altLang="en-US" dirty="0"/>
              <a:t>二级</a:t>
            </a:r>
          </a:p>
          <a:p>
            <a:pPr lvl="2"/>
            <a:r>
              <a:rPr lang="zh-CN" altLang="en-US" dirty="0"/>
              <a:t>三级</a:t>
            </a:r>
          </a:p>
          <a:p>
            <a:pPr lvl="3"/>
            <a:r>
              <a:rPr lang="zh-CN" altLang="en-US" dirty="0"/>
              <a:t>四级</a:t>
            </a:r>
          </a:p>
          <a:p>
            <a:pPr lvl="4"/>
            <a:r>
              <a:rPr lang="zh-CN" altLang="en-US" dirty="0"/>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a楷体" panose="02000500000000000000" pitchFamily="2" charset="-122"/>
                <a:ea typeface="Aa楷体" panose="02000500000000000000" pitchFamily="2" charset="-122"/>
              </a:defRPr>
            </a:lvl1pPr>
          </a:lstStyle>
          <a:p>
            <a:endParaRPr lang="zh-CN" altLang="en-US" dirty="0"/>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a楷体" panose="02000500000000000000" pitchFamily="2" charset="-122"/>
                <a:ea typeface="Aa楷体" panose="02000500000000000000" pitchFamily="2" charset="-122"/>
              </a:defRPr>
            </a:lvl1pPr>
          </a:lstStyle>
          <a:p>
            <a:fld id="{F40951FB-E407-47B6-B36B-1751E65F6DEB}" type="slidenum">
              <a:rPr lang="zh-CN" altLang="en-US" smtClean="0"/>
              <a:pPr/>
              <a:t>‹#›</a:t>
            </a:fld>
            <a:endParaRPr lang="zh-CN" altLang="en-US" dirty="0"/>
          </a:p>
        </p:txBody>
      </p:sp>
    </p:spTree>
    <p:extLst>
      <p:ext uri="{BB962C8B-B14F-4D97-AF65-F5344CB8AC3E}">
        <p14:creationId xmlns:p14="http://schemas.microsoft.com/office/powerpoint/2010/main" val="1743012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a楷体" panose="02000500000000000000" pitchFamily="2" charset="-122"/>
        <a:ea typeface="Aa楷体" panose="02000500000000000000" pitchFamily="2" charset="-122"/>
        <a:cs typeface="+mn-cs"/>
      </a:defRPr>
    </a:lvl1pPr>
    <a:lvl2pPr marL="457200" algn="l" defTabSz="914400" rtl="0" eaLnBrk="1" latinLnBrk="0" hangingPunct="1">
      <a:defRPr sz="1200" kern="1200">
        <a:solidFill>
          <a:schemeClr val="tx1"/>
        </a:solidFill>
        <a:latin typeface="Aa楷体" panose="02000500000000000000" pitchFamily="2" charset="-122"/>
        <a:ea typeface="Aa楷体" panose="02000500000000000000" pitchFamily="2" charset="-122"/>
        <a:cs typeface="+mn-cs"/>
      </a:defRPr>
    </a:lvl2pPr>
    <a:lvl3pPr marL="914400" algn="l" defTabSz="914400" rtl="0" eaLnBrk="1" latinLnBrk="0" hangingPunct="1">
      <a:defRPr sz="1200" kern="1200">
        <a:solidFill>
          <a:schemeClr val="tx1"/>
        </a:solidFill>
        <a:latin typeface="Aa楷体" panose="02000500000000000000" pitchFamily="2" charset="-122"/>
        <a:ea typeface="Aa楷体" panose="02000500000000000000" pitchFamily="2" charset="-122"/>
        <a:cs typeface="+mn-cs"/>
      </a:defRPr>
    </a:lvl3pPr>
    <a:lvl4pPr marL="1371600" algn="l" defTabSz="914400" rtl="0" eaLnBrk="1" latinLnBrk="0" hangingPunct="1">
      <a:defRPr sz="1200" kern="1200">
        <a:solidFill>
          <a:schemeClr val="tx1"/>
        </a:solidFill>
        <a:latin typeface="Aa楷体" panose="02000500000000000000" pitchFamily="2" charset="-122"/>
        <a:ea typeface="Aa楷体" panose="02000500000000000000" pitchFamily="2" charset="-122"/>
        <a:cs typeface="+mn-cs"/>
      </a:defRPr>
    </a:lvl4pPr>
    <a:lvl5pPr marL="1828800" algn="l" defTabSz="914400" rtl="0" eaLnBrk="1" latinLnBrk="0" hangingPunct="1">
      <a:defRPr sz="1200" kern="1200">
        <a:solidFill>
          <a:schemeClr val="tx1"/>
        </a:solidFill>
        <a:latin typeface="Aa楷体" panose="02000500000000000000" pitchFamily="2" charset="-122"/>
        <a:ea typeface="Aa楷体" panose="02000500000000000000"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291795b4-cc1d-4b34-985b-0243b1223ca5.5</a:t>
            </a:r>
          </a:p>
        </p:txBody>
      </p:sp>
      <p:sp>
        <p:nvSpPr>
          <p:cNvPr id="4" name="Slide Number Placeholder 3"/>
          <p:cNvSpPr>
            <a:spLocks noGrp="1"/>
          </p:cNvSpPr>
          <p:nvPr>
            <p:ph type="sldNum" sz="quarter" idx="5"/>
          </p:nvPr>
        </p:nvSpPr>
        <p:spPr/>
        <p:txBody>
          <a:bodyPr/>
          <a:lstStyle/>
          <a:p>
            <a:fld id="{0595C6B8-78DB-4140-8907-159E3657485F}" type="slidenum">
              <a:rPr lang="en-US" smtClean="0"/>
              <a:t>2</a:t>
            </a:fld>
            <a:endParaRPr lang="en-US"/>
          </a:p>
        </p:txBody>
      </p:sp>
    </p:spTree>
    <p:extLst>
      <p:ext uri="{BB962C8B-B14F-4D97-AF65-F5344CB8AC3E}">
        <p14:creationId xmlns:p14="http://schemas.microsoft.com/office/powerpoint/2010/main" val="12234341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4fd6be85-9dd5-4a60-8bfd-af79d9085002.source.default.zh-Hans</a:t>
            </a:r>
            <a:endParaRPr lang="zh-CN" altLang="en-US"/>
          </a:p>
        </p:txBody>
      </p:sp>
      <p:sp>
        <p:nvSpPr>
          <p:cNvPr id="4" name="灯片编号占位符 3"/>
          <p:cNvSpPr>
            <a:spLocks noGrp="1"/>
          </p:cNvSpPr>
          <p:nvPr>
            <p:ph type="sldNum" sz="quarter" idx="5"/>
          </p:nvPr>
        </p:nvSpPr>
        <p:spPr/>
        <p:txBody>
          <a:bodyPr/>
          <a:lstStyle/>
          <a:p>
            <a:fld id="{A3ED8765-8EF3-408C-9341-152904E414ED}" type="slidenum">
              <a:rPr lang="zh-CN" altLang="en-US" smtClean="0"/>
              <a:t>12</a:t>
            </a:fld>
            <a:endParaRPr lang="zh-CN" altLang="en-US"/>
          </a:p>
        </p:txBody>
      </p:sp>
    </p:spTree>
    <p:extLst>
      <p:ext uri="{BB962C8B-B14F-4D97-AF65-F5344CB8AC3E}">
        <p14:creationId xmlns:p14="http://schemas.microsoft.com/office/powerpoint/2010/main" val="6670699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幻灯片图像占位符 1">
            <a:extLst>
              <a:ext uri="{FF2B5EF4-FFF2-40B4-BE49-F238E27FC236}">
                <a16:creationId xmlns:a16="http://schemas.microsoft.com/office/drawing/2014/main" id="{0A03AE66-8FFC-47B1-97F5-AC7099E12054}"/>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0899" name="备注占位符 2">
            <a:extLst>
              <a:ext uri="{FF2B5EF4-FFF2-40B4-BE49-F238E27FC236}">
                <a16:creationId xmlns:a16="http://schemas.microsoft.com/office/drawing/2014/main" id="{6A25CE28-EB54-4DCA-84A4-D63393D7803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a:p>
        </p:txBody>
      </p:sp>
      <p:sp>
        <p:nvSpPr>
          <p:cNvPr id="4" name="页眉占位符 3">
            <a:extLst>
              <a:ext uri="{FF2B5EF4-FFF2-40B4-BE49-F238E27FC236}">
                <a16:creationId xmlns:a16="http://schemas.microsoft.com/office/drawing/2014/main" id="{3DA68850-A3DD-41B6-A40D-E06CEC5313A8}"/>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d-ID" sz="1200" b="0" i="0" u="none" strike="noStrike" kern="1200" cap="none" spc="0" normalizeH="0" baseline="0" noProof="0" dirty="0">
                <a:ln>
                  <a:noFill/>
                </a:ln>
                <a:solidFill>
                  <a:prstClr val="black"/>
                </a:solidFill>
                <a:effectLst/>
                <a:uLnTx/>
                <a:uFillTx/>
                <a:cs typeface="+mn-cs"/>
              </a:rPr>
              <a:t>01</a:t>
            </a:r>
          </a:p>
        </p:txBody>
      </p:sp>
      <p:sp>
        <p:nvSpPr>
          <p:cNvPr id="5" name="灯片编号占位符 4">
            <a:extLst>
              <a:ext uri="{FF2B5EF4-FFF2-40B4-BE49-F238E27FC236}">
                <a16:creationId xmlns:a16="http://schemas.microsoft.com/office/drawing/2014/main" id="{1885CD7C-FF6B-4A10-8AF0-08557DC564D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ABCB0E-CA2F-4939-8510-026A8D5A7AF1}" type="slidenum">
              <a:rPr kumimoji="0" lang="id-ID" sz="1200" b="0" i="0" u="none" strike="noStrike" kern="1200" cap="none" spc="0" normalizeH="0" baseline="0" noProof="0" smtClean="0">
                <a:ln>
                  <a:noFill/>
                </a:ln>
                <a:solidFill>
                  <a:prstClr val="black"/>
                </a:solidFill>
                <a:effectLst/>
                <a:uLnTx/>
                <a:uFillTx/>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id-ID" sz="1200" b="0" i="0" u="none" strike="noStrike" kern="1200" cap="none" spc="0" normalizeH="0" baseline="0" noProof="0" dirty="0">
              <a:ln>
                <a:noFill/>
              </a:ln>
              <a:solidFill>
                <a:prstClr val="black"/>
              </a:solidFill>
              <a:effectLst/>
              <a:uLnTx/>
              <a:uFillTx/>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幻灯片图像占位符 1">
            <a:extLst>
              <a:ext uri="{FF2B5EF4-FFF2-40B4-BE49-F238E27FC236}">
                <a16:creationId xmlns:a16="http://schemas.microsoft.com/office/drawing/2014/main" id="{D4CFB70F-4B86-4854-BB5D-54E3333378A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6083" name="备注占位符 2">
            <a:extLst>
              <a:ext uri="{FF2B5EF4-FFF2-40B4-BE49-F238E27FC236}">
                <a16:creationId xmlns:a16="http://schemas.microsoft.com/office/drawing/2014/main" id="{B4E63257-A79C-4722-93D3-4E3AA3410FFD}"/>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a:p>
        </p:txBody>
      </p:sp>
      <p:sp>
        <p:nvSpPr>
          <p:cNvPr id="4" name="页眉占位符 3">
            <a:extLst>
              <a:ext uri="{FF2B5EF4-FFF2-40B4-BE49-F238E27FC236}">
                <a16:creationId xmlns:a16="http://schemas.microsoft.com/office/drawing/2014/main" id="{26C4D2F8-6943-40A5-A7F1-ABADB2FE105C}"/>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d-ID" sz="1200" b="0" i="0" u="none" strike="noStrike" kern="1200" cap="none" spc="0" normalizeH="0" baseline="0" noProof="0" dirty="0">
                <a:ln>
                  <a:noFill/>
                </a:ln>
                <a:solidFill>
                  <a:prstClr val="black"/>
                </a:solidFill>
                <a:effectLst/>
                <a:uLnTx/>
                <a:uFillTx/>
                <a:cs typeface="+mn-cs"/>
              </a:rPr>
              <a:t>01</a:t>
            </a:r>
          </a:p>
        </p:txBody>
      </p:sp>
      <p:sp>
        <p:nvSpPr>
          <p:cNvPr id="5" name="灯片编号占位符 4">
            <a:extLst>
              <a:ext uri="{FF2B5EF4-FFF2-40B4-BE49-F238E27FC236}">
                <a16:creationId xmlns:a16="http://schemas.microsoft.com/office/drawing/2014/main" id="{30D7524E-537C-4CB4-A455-BF4411F348B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61C350-26D3-4717-B4C3-486DD6F8CEF5}" type="slidenum">
              <a:rPr kumimoji="0" lang="id-ID" sz="1200" b="0" i="0" u="none" strike="noStrike" kern="1200" cap="none" spc="0" normalizeH="0" baseline="0" noProof="0" smtClean="0">
                <a:ln>
                  <a:noFill/>
                </a:ln>
                <a:solidFill>
                  <a:prstClr val="black"/>
                </a:solidFill>
                <a:effectLst/>
                <a:uLnTx/>
                <a:uFillTx/>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id-ID" sz="1200" b="0" i="0" u="none" strike="noStrike" kern="1200" cap="none" spc="0" normalizeH="0" baseline="0" noProof="0" dirty="0">
              <a:ln>
                <a:noFill/>
              </a:ln>
              <a:solidFill>
                <a:prstClr val="black"/>
              </a:solidFill>
              <a:effectLst/>
              <a:uLnTx/>
              <a:uFillTx/>
              <a:cs typeface="+mn-cs"/>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幻灯片图像占位符 1">
            <a:extLst>
              <a:ext uri="{FF2B5EF4-FFF2-40B4-BE49-F238E27FC236}">
                <a16:creationId xmlns:a16="http://schemas.microsoft.com/office/drawing/2014/main" id="{5BF58FF1-AD2B-432B-BC26-604B911A5C09}"/>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315" name="备注占位符 2">
            <a:extLst>
              <a:ext uri="{FF2B5EF4-FFF2-40B4-BE49-F238E27FC236}">
                <a16:creationId xmlns:a16="http://schemas.microsoft.com/office/drawing/2014/main" id="{C7D440D6-CF4D-4AC4-A34D-3B6C5675DAB3}"/>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a:p>
        </p:txBody>
      </p:sp>
      <p:sp>
        <p:nvSpPr>
          <p:cNvPr id="4" name="页眉占位符 3">
            <a:extLst>
              <a:ext uri="{FF2B5EF4-FFF2-40B4-BE49-F238E27FC236}">
                <a16:creationId xmlns:a16="http://schemas.microsoft.com/office/drawing/2014/main" id="{817DF86D-5638-463D-9BE2-6484C4F2C72C}"/>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d-ID" sz="1200" b="0" i="0" u="none" strike="noStrike" kern="1200" cap="none" spc="0" normalizeH="0" baseline="0" noProof="0" dirty="0">
                <a:ln>
                  <a:noFill/>
                </a:ln>
                <a:solidFill>
                  <a:prstClr val="black"/>
                </a:solidFill>
                <a:effectLst/>
                <a:uLnTx/>
                <a:uFillTx/>
                <a:cs typeface="+mn-cs"/>
              </a:rPr>
              <a:t>01</a:t>
            </a:r>
          </a:p>
        </p:txBody>
      </p:sp>
      <p:sp>
        <p:nvSpPr>
          <p:cNvPr id="5" name="灯片编号占位符 4">
            <a:extLst>
              <a:ext uri="{FF2B5EF4-FFF2-40B4-BE49-F238E27FC236}">
                <a16:creationId xmlns:a16="http://schemas.microsoft.com/office/drawing/2014/main" id="{B5CCC8D7-C6A7-49CF-8AD9-6E7BAF83201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26C575-CE68-4B3A-A8F9-0BE3AAE0FC62}" type="slidenum">
              <a:rPr kumimoji="0" lang="id-ID" sz="1200" b="0" i="0" u="none" strike="noStrike" kern="1200" cap="none" spc="0" normalizeH="0" baseline="0" noProof="0" smtClean="0">
                <a:ln>
                  <a:noFill/>
                </a:ln>
                <a:solidFill>
                  <a:prstClr val="black"/>
                </a:solidFill>
                <a:effectLst/>
                <a:uLnTx/>
                <a:uFillTx/>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id-ID" sz="1200" b="0" i="0" u="none" strike="noStrike" kern="1200" cap="none" spc="0" normalizeH="0" baseline="0" noProof="0" dirty="0">
              <a:ln>
                <a:noFill/>
              </a:ln>
              <a:solidFill>
                <a:prstClr val="black"/>
              </a:solidFill>
              <a:effectLst/>
              <a:uLnTx/>
              <a:uFillTx/>
              <a:cs typeface="+mn-cs"/>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幻灯片图像占位符 1">
            <a:extLst>
              <a:ext uri="{FF2B5EF4-FFF2-40B4-BE49-F238E27FC236}">
                <a16:creationId xmlns:a16="http://schemas.microsoft.com/office/drawing/2014/main" id="{8EC08ADE-5FDD-4D0B-ABDB-73AC27F83C98}"/>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227" name="备注占位符 2">
            <a:extLst>
              <a:ext uri="{FF2B5EF4-FFF2-40B4-BE49-F238E27FC236}">
                <a16:creationId xmlns:a16="http://schemas.microsoft.com/office/drawing/2014/main" id="{A2B4947F-21E5-4D88-A993-D7F573F347A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a:p>
        </p:txBody>
      </p:sp>
      <p:sp>
        <p:nvSpPr>
          <p:cNvPr id="4" name="页眉占位符 3">
            <a:extLst>
              <a:ext uri="{FF2B5EF4-FFF2-40B4-BE49-F238E27FC236}">
                <a16:creationId xmlns:a16="http://schemas.microsoft.com/office/drawing/2014/main" id="{42200BB8-C7DF-4FD7-8FE8-8CF461586D81}"/>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d-ID" sz="1200" b="0" i="0" u="none" strike="noStrike" kern="1200" cap="none" spc="0" normalizeH="0" baseline="0" noProof="0" dirty="0">
                <a:ln>
                  <a:noFill/>
                </a:ln>
                <a:solidFill>
                  <a:prstClr val="black"/>
                </a:solidFill>
                <a:effectLst/>
                <a:uLnTx/>
                <a:uFillTx/>
                <a:cs typeface="+mn-cs"/>
              </a:rPr>
              <a:t>01</a:t>
            </a:r>
          </a:p>
        </p:txBody>
      </p:sp>
      <p:sp>
        <p:nvSpPr>
          <p:cNvPr id="5" name="灯片编号占位符 4">
            <a:extLst>
              <a:ext uri="{FF2B5EF4-FFF2-40B4-BE49-F238E27FC236}">
                <a16:creationId xmlns:a16="http://schemas.microsoft.com/office/drawing/2014/main" id="{FE122689-A8B9-4901-96E0-548A7FB7FF3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FB6643-37DA-429F-8F0B-836AC465D8CE}" type="slidenum">
              <a:rPr kumimoji="0" lang="id-ID" sz="1200" b="0" i="0" u="none" strike="noStrike" kern="1200" cap="none" spc="0" normalizeH="0" baseline="0" noProof="0" smtClean="0">
                <a:ln>
                  <a:noFill/>
                </a:ln>
                <a:solidFill>
                  <a:prstClr val="black"/>
                </a:solidFill>
                <a:effectLst/>
                <a:uLnTx/>
                <a:uFillTx/>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id-ID" sz="1200" b="0" i="0" u="none" strike="noStrike" kern="1200" cap="none" spc="0" normalizeH="0" baseline="0" noProof="0" dirty="0">
              <a:ln>
                <a:noFill/>
              </a:ln>
              <a:solidFill>
                <a:prstClr val="black"/>
              </a:solidFill>
              <a:effectLst/>
              <a:uLnTx/>
              <a:uFillTx/>
              <a:cs typeface="+mn-cs"/>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d57d9205-e63f-48e0-97b3-52ba7d053e85.source.default.zh-Hans</a:t>
            </a:r>
            <a:endParaRPr lang="zh-CN" altLang="en-US"/>
          </a:p>
        </p:txBody>
      </p:sp>
      <p:sp>
        <p:nvSpPr>
          <p:cNvPr id="4" name="灯片编号占位符 3"/>
          <p:cNvSpPr>
            <a:spLocks noGrp="1"/>
          </p:cNvSpPr>
          <p:nvPr>
            <p:ph type="sldNum" sz="quarter" idx="10"/>
          </p:nvPr>
        </p:nvSpPr>
        <p:spPr/>
        <p:txBody>
          <a:bodyPr/>
          <a:lstStyle/>
          <a:p>
            <a:fld id="{FD1E3519-AA41-4C8F-81B1-98F81BDCD14B}" type="slidenum">
              <a:rPr lang="zh-CN" altLang="en-US" smtClean="0"/>
              <a:t>7</a:t>
            </a:fld>
            <a:endParaRPr lang="zh-CN" altLang="en-US"/>
          </a:p>
        </p:txBody>
      </p:sp>
    </p:spTree>
    <p:extLst>
      <p:ext uri="{BB962C8B-B14F-4D97-AF65-F5344CB8AC3E}">
        <p14:creationId xmlns:p14="http://schemas.microsoft.com/office/powerpoint/2010/main" val="31030907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2723b812-8882-4e28-9952-c5a3686829f6.source.default.zh-Hans</a:t>
            </a:r>
            <a:endParaRPr lang="zh-CN" altLang="en-US"/>
          </a:p>
        </p:txBody>
      </p:sp>
      <p:sp>
        <p:nvSpPr>
          <p:cNvPr id="4" name="灯片编号占位符 3"/>
          <p:cNvSpPr>
            <a:spLocks noGrp="1"/>
          </p:cNvSpPr>
          <p:nvPr>
            <p:ph type="sldNum" sz="quarter" idx="5"/>
          </p:nvPr>
        </p:nvSpPr>
        <p:spPr/>
        <p:txBody>
          <a:bodyPr/>
          <a:lstStyle/>
          <a:p>
            <a:fld id="{A3ED8765-8EF3-408C-9341-152904E414ED}" type="slidenum">
              <a:rPr lang="zh-CN" altLang="en-US" smtClean="0"/>
              <a:t>8</a:t>
            </a:fld>
            <a:endParaRPr lang="zh-CN" altLang="en-US"/>
          </a:p>
        </p:txBody>
      </p:sp>
    </p:spTree>
    <p:extLst>
      <p:ext uri="{BB962C8B-B14F-4D97-AF65-F5344CB8AC3E}">
        <p14:creationId xmlns:p14="http://schemas.microsoft.com/office/powerpoint/2010/main" val="7589642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4fd6be85-9dd5-4a60-8bfd-af79d9085002.source.default.zh-Hans</a:t>
            </a:r>
            <a:endParaRPr lang="zh-CN" altLang="en-US"/>
          </a:p>
        </p:txBody>
      </p:sp>
      <p:sp>
        <p:nvSpPr>
          <p:cNvPr id="4" name="灯片编号占位符 3"/>
          <p:cNvSpPr>
            <a:spLocks noGrp="1"/>
          </p:cNvSpPr>
          <p:nvPr>
            <p:ph type="sldNum" sz="quarter" idx="5"/>
          </p:nvPr>
        </p:nvSpPr>
        <p:spPr/>
        <p:txBody>
          <a:bodyPr/>
          <a:lstStyle/>
          <a:p>
            <a:fld id="{A3ED8765-8EF3-408C-9341-152904E414ED}" type="slidenum">
              <a:rPr lang="zh-CN" altLang="en-US" smtClean="0"/>
              <a:t>9</a:t>
            </a:fld>
            <a:endParaRPr lang="zh-CN" altLang="en-US"/>
          </a:p>
        </p:txBody>
      </p:sp>
    </p:spTree>
    <p:extLst>
      <p:ext uri="{BB962C8B-B14F-4D97-AF65-F5344CB8AC3E}">
        <p14:creationId xmlns:p14="http://schemas.microsoft.com/office/powerpoint/2010/main" val="21071621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2723b812-8882-4e28-9952-c5a3686829f6.source.default.zh-Hans</a:t>
            </a:r>
            <a:endParaRPr lang="zh-CN" altLang="en-US"/>
          </a:p>
        </p:txBody>
      </p:sp>
      <p:sp>
        <p:nvSpPr>
          <p:cNvPr id="4" name="灯片编号占位符 3"/>
          <p:cNvSpPr>
            <a:spLocks noGrp="1"/>
          </p:cNvSpPr>
          <p:nvPr>
            <p:ph type="sldNum" sz="quarter" idx="5"/>
          </p:nvPr>
        </p:nvSpPr>
        <p:spPr/>
        <p:txBody>
          <a:bodyPr/>
          <a:lstStyle/>
          <a:p>
            <a:fld id="{A3ED8765-8EF3-408C-9341-152904E414ED}" type="slidenum">
              <a:rPr lang="zh-CN" altLang="en-US" smtClean="0"/>
              <a:t>11</a:t>
            </a:fld>
            <a:endParaRPr lang="zh-CN" altLang="en-US"/>
          </a:p>
        </p:txBody>
      </p:sp>
    </p:spTree>
    <p:extLst>
      <p:ext uri="{BB962C8B-B14F-4D97-AF65-F5344CB8AC3E}">
        <p14:creationId xmlns:p14="http://schemas.microsoft.com/office/powerpoint/2010/main" val="36838429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1974628-C5C7-4763-8634-07C946E4E605}"/>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a:extLst>
              <a:ext uri="{FF2B5EF4-FFF2-40B4-BE49-F238E27FC236}">
                <a16:creationId xmlns:a16="http://schemas.microsoft.com/office/drawing/2014/main" id="{8C7AAB7F-F3E9-4D78-B5D2-B5E426D38CE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a:extLst>
              <a:ext uri="{FF2B5EF4-FFF2-40B4-BE49-F238E27FC236}">
                <a16:creationId xmlns:a16="http://schemas.microsoft.com/office/drawing/2014/main" id="{667803E3-FAF5-4903-B02C-AA9982B62DED}"/>
              </a:ext>
            </a:extLst>
          </p:cNvPr>
          <p:cNvSpPr>
            <a:spLocks noGrp="1"/>
          </p:cNvSpPr>
          <p:nvPr>
            <p:ph type="dt" sz="half" idx="10"/>
          </p:nvPr>
        </p:nvSpPr>
        <p:spPr/>
        <p:txBody>
          <a:bodyPr/>
          <a:lstStyle/>
          <a:p>
            <a:fld id="{BA389231-CF86-40D7-9C53-195B52E419EA}" type="datetimeFigureOut">
              <a:rPr lang="zh-CN" altLang="en-US" smtClean="0"/>
              <a:t>2024/5/31</a:t>
            </a:fld>
            <a:endParaRPr lang="zh-CN" altLang="en-US"/>
          </a:p>
        </p:txBody>
      </p:sp>
      <p:sp>
        <p:nvSpPr>
          <p:cNvPr id="5" name="页脚占位符 4">
            <a:extLst>
              <a:ext uri="{FF2B5EF4-FFF2-40B4-BE49-F238E27FC236}">
                <a16:creationId xmlns:a16="http://schemas.microsoft.com/office/drawing/2014/main" id="{DC5BD7A0-5D3E-48EC-BC6F-6001661C73BA}"/>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35F71DBC-DADE-4A30-AEC5-791221F6730D}"/>
              </a:ext>
            </a:extLst>
          </p:cNvPr>
          <p:cNvSpPr>
            <a:spLocks noGrp="1"/>
          </p:cNvSpPr>
          <p:nvPr>
            <p:ph type="sldNum" sz="quarter" idx="12"/>
          </p:nvPr>
        </p:nvSpPr>
        <p:spPr/>
        <p:txBody>
          <a:bodyPr/>
          <a:lstStyle/>
          <a:p>
            <a:fld id="{AD8BD364-0A27-46F0-8315-F0F5B0BF1727}" type="slidenum">
              <a:rPr lang="zh-CN" altLang="en-US" smtClean="0"/>
              <a:t>‹#›</a:t>
            </a:fld>
            <a:endParaRPr lang="zh-CN" altLang="en-US"/>
          </a:p>
        </p:txBody>
      </p:sp>
    </p:spTree>
    <p:extLst>
      <p:ext uri="{BB962C8B-B14F-4D97-AF65-F5344CB8AC3E}">
        <p14:creationId xmlns:p14="http://schemas.microsoft.com/office/powerpoint/2010/main" val="2183855529"/>
      </p:ext>
    </p:extLst>
  </p:cSld>
  <p:clrMapOvr>
    <a:masterClrMapping/>
  </p:clrMapOvr>
  <mc:AlternateContent xmlns:mc="http://schemas.openxmlformats.org/markup-compatibility/2006" xmlns:p14="http://schemas.microsoft.com/office/powerpoint/2010/main">
    <mc:Choice Requires="p14">
      <p:transition spd="slow" p14:dur="1500" advClick="0" advTm="1000">
        <p:random/>
      </p:transition>
    </mc:Choice>
    <mc:Fallback xmlns="">
      <p:transition spd="slow" advClick="0" advTm="1000">
        <p:random/>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userDrawn="1">
  <p:cSld name="1_标题幻灯片">
    <p:spTree>
      <p:nvGrpSpPr>
        <p:cNvPr id="1" name=""/>
        <p:cNvGrpSpPr/>
        <p:nvPr/>
      </p:nvGrpSpPr>
      <p:grpSpPr>
        <a:xfrm>
          <a:off x="0" y="0"/>
          <a:ext cx="0" cy="0"/>
          <a:chOff x="0" y="0"/>
          <a:chExt cx="0" cy="0"/>
        </a:xfrm>
      </p:grpSpPr>
      <p:sp>
        <p:nvSpPr>
          <p:cNvPr id="2" name="任意多边形: 形状 1">
            <a:extLst>
              <a:ext uri="{FF2B5EF4-FFF2-40B4-BE49-F238E27FC236}">
                <a16:creationId xmlns:a16="http://schemas.microsoft.com/office/drawing/2014/main" id="{09CD0CE4-C5AD-446E-B5DA-8980131E9220}"/>
              </a:ext>
            </a:extLst>
          </p:cNvPr>
          <p:cNvSpPr/>
          <p:nvPr userDrawn="1"/>
        </p:nvSpPr>
        <p:spPr>
          <a:xfrm>
            <a:off x="-14068" y="0"/>
            <a:ext cx="12252960" cy="6858000"/>
          </a:xfrm>
          <a:custGeom>
            <a:avLst/>
            <a:gdLst>
              <a:gd name="connsiteX0" fmla="*/ 14068 w 12252960"/>
              <a:gd name="connsiteY0" fmla="*/ 0 h 6724356"/>
              <a:gd name="connsiteX1" fmla="*/ 12196690 w 12252960"/>
              <a:gd name="connsiteY1" fmla="*/ 0 h 6724356"/>
              <a:gd name="connsiteX2" fmla="*/ 8862647 w 12252960"/>
              <a:gd name="connsiteY2" fmla="*/ 3334043 h 6724356"/>
              <a:gd name="connsiteX3" fmla="*/ 12252960 w 12252960"/>
              <a:gd name="connsiteY3" fmla="*/ 6724356 h 6724356"/>
              <a:gd name="connsiteX4" fmla="*/ 0 w 12252960"/>
              <a:gd name="connsiteY4" fmla="*/ 6724356 h 6724356"/>
              <a:gd name="connsiteX5" fmla="*/ 14068 w 12252960"/>
              <a:gd name="connsiteY5" fmla="*/ 0 h 6724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52960" h="6724356">
                <a:moveTo>
                  <a:pt x="14068" y="0"/>
                </a:moveTo>
                <a:lnTo>
                  <a:pt x="12196690" y="0"/>
                </a:lnTo>
                <a:lnTo>
                  <a:pt x="8862647" y="3334043"/>
                </a:lnTo>
                <a:lnTo>
                  <a:pt x="12252960" y="6724356"/>
                </a:lnTo>
                <a:lnTo>
                  <a:pt x="0" y="6724356"/>
                </a:lnTo>
                <a:cubicBezTo>
                  <a:pt x="4689" y="4482904"/>
                  <a:pt x="9379" y="2241452"/>
                  <a:pt x="14068" y="0"/>
                </a:cubicBezTo>
                <a:close/>
              </a:path>
            </a:pathLst>
          </a:cu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任意多边形: 形状 4">
            <a:extLst>
              <a:ext uri="{FF2B5EF4-FFF2-40B4-BE49-F238E27FC236}">
                <a16:creationId xmlns:a16="http://schemas.microsoft.com/office/drawing/2014/main" id="{89311A41-B13D-4323-B897-8163F494AC1F}"/>
              </a:ext>
            </a:extLst>
          </p:cNvPr>
          <p:cNvSpPr/>
          <p:nvPr userDrawn="1"/>
        </p:nvSpPr>
        <p:spPr>
          <a:xfrm>
            <a:off x="5462617" y="3670"/>
            <a:ext cx="4412901" cy="4540196"/>
          </a:xfrm>
          <a:custGeom>
            <a:avLst/>
            <a:gdLst>
              <a:gd name="connsiteX0" fmla="*/ 4389120 w 4389120"/>
              <a:gd name="connsiteY0" fmla="*/ 4515729 h 4515729"/>
              <a:gd name="connsiteX1" fmla="*/ 4389120 w 4389120"/>
              <a:gd name="connsiteY1" fmla="*/ 2222695 h 4515729"/>
              <a:gd name="connsiteX2" fmla="*/ 2082019 w 4389120"/>
              <a:gd name="connsiteY2" fmla="*/ 0 h 4515729"/>
              <a:gd name="connsiteX3" fmla="*/ 562708 w 4389120"/>
              <a:gd name="connsiteY3" fmla="*/ 0 h 4515729"/>
              <a:gd name="connsiteX4" fmla="*/ 0 w 4389120"/>
              <a:gd name="connsiteY4" fmla="*/ 0 h 4515729"/>
              <a:gd name="connsiteX5" fmla="*/ 4389120 w 4389120"/>
              <a:gd name="connsiteY5" fmla="*/ 4515729 h 4515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9120" h="4515729">
                <a:moveTo>
                  <a:pt x="4389120" y="4515729"/>
                </a:moveTo>
                <a:lnTo>
                  <a:pt x="4389120" y="2222695"/>
                </a:lnTo>
                <a:lnTo>
                  <a:pt x="2082019" y="0"/>
                </a:lnTo>
                <a:lnTo>
                  <a:pt x="562708" y="0"/>
                </a:lnTo>
                <a:lnTo>
                  <a:pt x="0" y="0"/>
                </a:lnTo>
                <a:lnTo>
                  <a:pt x="4389120" y="4515729"/>
                </a:lnTo>
                <a:close/>
              </a:path>
            </a:pathLst>
          </a:cu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任意多边形: 形状 9">
            <a:extLst>
              <a:ext uri="{FF2B5EF4-FFF2-40B4-BE49-F238E27FC236}">
                <a16:creationId xmlns:a16="http://schemas.microsoft.com/office/drawing/2014/main" id="{B011AB4B-82B4-4802-A15E-B279BF19C6B4}"/>
              </a:ext>
            </a:extLst>
          </p:cNvPr>
          <p:cNvSpPr/>
          <p:nvPr userDrawn="1"/>
        </p:nvSpPr>
        <p:spPr>
          <a:xfrm flipV="1">
            <a:off x="5462617" y="2300214"/>
            <a:ext cx="4423160" cy="4550751"/>
          </a:xfrm>
          <a:custGeom>
            <a:avLst/>
            <a:gdLst>
              <a:gd name="connsiteX0" fmla="*/ 4389120 w 4389120"/>
              <a:gd name="connsiteY0" fmla="*/ 4515729 h 4515729"/>
              <a:gd name="connsiteX1" fmla="*/ 4389120 w 4389120"/>
              <a:gd name="connsiteY1" fmla="*/ 2222695 h 4515729"/>
              <a:gd name="connsiteX2" fmla="*/ 2082019 w 4389120"/>
              <a:gd name="connsiteY2" fmla="*/ 0 h 4515729"/>
              <a:gd name="connsiteX3" fmla="*/ 562708 w 4389120"/>
              <a:gd name="connsiteY3" fmla="*/ 0 h 4515729"/>
              <a:gd name="connsiteX4" fmla="*/ 0 w 4389120"/>
              <a:gd name="connsiteY4" fmla="*/ 0 h 4515729"/>
              <a:gd name="connsiteX5" fmla="*/ 4389120 w 4389120"/>
              <a:gd name="connsiteY5" fmla="*/ 4515729 h 4515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9120" h="4515729">
                <a:moveTo>
                  <a:pt x="4389120" y="4515729"/>
                </a:moveTo>
                <a:lnTo>
                  <a:pt x="4389120" y="2222695"/>
                </a:lnTo>
                <a:lnTo>
                  <a:pt x="2082019" y="0"/>
                </a:lnTo>
                <a:lnTo>
                  <a:pt x="562708" y="0"/>
                </a:lnTo>
                <a:lnTo>
                  <a:pt x="0" y="0"/>
                </a:lnTo>
                <a:lnTo>
                  <a:pt x="4389120" y="4515729"/>
                </a:lnTo>
                <a:close/>
              </a:path>
            </a:pathLst>
          </a:custGeom>
          <a:solidFill>
            <a:schemeClr val="accent2">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1" name="副标题 9800"/>
          <p:cNvSpPr>
            <a:spLocks noGrp="1"/>
          </p:cNvSpPr>
          <p:nvPr userDrawn="1">
            <p:ph type="subTitle" idx="1"/>
          </p:nvPr>
        </p:nvSpPr>
        <p:spPr>
          <a:xfrm>
            <a:off x="673099" y="2803863"/>
            <a:ext cx="6794501" cy="558799"/>
          </a:xfrm>
        </p:spPr>
        <p:txBody>
          <a:bodyPr anchor="ctr">
            <a:normAutofit/>
          </a:bodyPr>
          <a:lstStyle>
            <a:lvl1pPr marL="0" indent="0" algn="l">
              <a:buNone/>
              <a:defRPr sz="2000">
                <a:solidFill>
                  <a:schemeClr val="accent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9801"/>
          <p:cNvSpPr>
            <a:spLocks noGrp="1"/>
          </p:cNvSpPr>
          <p:nvPr userDrawn="1">
            <p:ph type="ctrTitle" hasCustomPrompt="1"/>
          </p:nvPr>
        </p:nvSpPr>
        <p:spPr>
          <a:xfrm>
            <a:off x="673099" y="1104900"/>
            <a:ext cx="6794501" cy="1682092"/>
          </a:xfrm>
        </p:spPr>
        <p:txBody>
          <a:bodyPr anchor="ctr">
            <a:noAutofit/>
          </a:bodyPr>
          <a:lstStyle>
            <a:lvl1pPr algn="l">
              <a:defRPr sz="4800">
                <a:solidFill>
                  <a:schemeClr val="accent1"/>
                </a:solidFill>
              </a:defRPr>
            </a:lvl1pPr>
          </a:lstStyle>
          <a:p>
            <a:r>
              <a:rPr lang="en-US" dirty="0"/>
              <a:t>Click to edit Master </a:t>
            </a:r>
            <a:br>
              <a:rPr lang="en-US" dirty="0"/>
            </a:br>
            <a:r>
              <a:rPr lang="en-US" dirty="0"/>
              <a:t>title style</a:t>
            </a:r>
            <a:endParaRPr lang="zh-CN" altLang="en-US" dirty="0"/>
          </a:p>
        </p:txBody>
      </p:sp>
      <p:sp>
        <p:nvSpPr>
          <p:cNvPr id="12" name="文本占位符 11"/>
          <p:cNvSpPr>
            <a:spLocks noGrp="1"/>
          </p:cNvSpPr>
          <p:nvPr userDrawn="1">
            <p:ph type="body" sz="quarter" idx="10" hasCustomPrompt="1"/>
          </p:nvPr>
        </p:nvSpPr>
        <p:spPr>
          <a:xfrm>
            <a:off x="673099" y="5253008"/>
            <a:ext cx="6794501" cy="296271"/>
          </a:xfrm>
        </p:spPr>
        <p:txBody>
          <a:bodyPr vert="horz" anchor="ctr">
            <a:noAutofit/>
          </a:bodyPr>
          <a:lstStyle>
            <a:lvl1pPr marL="0" indent="0" algn="l">
              <a:buNone/>
              <a:defRPr sz="1500" b="0">
                <a:solidFill>
                  <a:schemeClr val="accent2"/>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2"/>
          <p:cNvSpPr>
            <a:spLocks noGrp="1"/>
          </p:cNvSpPr>
          <p:nvPr userDrawn="1">
            <p:ph type="body" sz="quarter" idx="11" hasCustomPrompt="1"/>
          </p:nvPr>
        </p:nvSpPr>
        <p:spPr>
          <a:xfrm>
            <a:off x="673099" y="5549279"/>
            <a:ext cx="6794501" cy="296271"/>
          </a:xfrm>
        </p:spPr>
        <p:txBody>
          <a:bodyPr vert="horz" anchor="ctr">
            <a:noAutofit/>
          </a:bodyPr>
          <a:lstStyle>
            <a:lvl1pPr marL="0" indent="0" algn="l">
              <a:buNone/>
              <a:defRPr sz="1500" b="0">
                <a:solidFill>
                  <a:schemeClr val="accent2"/>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670441767"/>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7660D3D-2164-465D-851F-B5278CBEBC5D}"/>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F3F56165-C758-4392-BF00-DAF4D5EF78CA}"/>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C2B9230D-F44F-4ECB-9A2F-A704A5485605}"/>
              </a:ext>
            </a:extLst>
          </p:cNvPr>
          <p:cNvSpPr>
            <a:spLocks noGrp="1"/>
          </p:cNvSpPr>
          <p:nvPr>
            <p:ph type="dt" sz="half" idx="10"/>
          </p:nvPr>
        </p:nvSpPr>
        <p:spPr/>
        <p:txBody>
          <a:bodyPr/>
          <a:lstStyle/>
          <a:p>
            <a:fld id="{BA389231-CF86-40D7-9C53-195B52E419EA}" type="datetimeFigureOut">
              <a:rPr lang="zh-CN" altLang="en-US" smtClean="0"/>
              <a:t>2024/5/31</a:t>
            </a:fld>
            <a:endParaRPr lang="zh-CN" altLang="en-US"/>
          </a:p>
        </p:txBody>
      </p:sp>
      <p:sp>
        <p:nvSpPr>
          <p:cNvPr id="5" name="页脚占位符 4">
            <a:extLst>
              <a:ext uri="{FF2B5EF4-FFF2-40B4-BE49-F238E27FC236}">
                <a16:creationId xmlns:a16="http://schemas.microsoft.com/office/drawing/2014/main" id="{4CEF8960-8B3E-4677-A524-800AA150B4B2}"/>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4D0FC3EF-74BC-4DB8-90BF-7372BA32EEF3}"/>
              </a:ext>
            </a:extLst>
          </p:cNvPr>
          <p:cNvSpPr>
            <a:spLocks noGrp="1"/>
          </p:cNvSpPr>
          <p:nvPr>
            <p:ph type="sldNum" sz="quarter" idx="12"/>
          </p:nvPr>
        </p:nvSpPr>
        <p:spPr/>
        <p:txBody>
          <a:bodyPr/>
          <a:lstStyle/>
          <a:p>
            <a:fld id="{AD8BD364-0A27-46F0-8315-F0F5B0BF1727}" type="slidenum">
              <a:rPr lang="zh-CN" altLang="en-US" smtClean="0"/>
              <a:t>‹#›</a:t>
            </a:fld>
            <a:endParaRPr lang="zh-CN" altLang="en-US"/>
          </a:p>
        </p:txBody>
      </p:sp>
    </p:spTree>
    <p:extLst>
      <p:ext uri="{BB962C8B-B14F-4D97-AF65-F5344CB8AC3E}">
        <p14:creationId xmlns:p14="http://schemas.microsoft.com/office/powerpoint/2010/main" val="3537247570"/>
      </p:ext>
    </p:extLst>
  </p:cSld>
  <p:clrMapOvr>
    <a:masterClrMapping/>
  </p:clrMapOvr>
  <mc:AlternateContent xmlns:mc="http://schemas.openxmlformats.org/markup-compatibility/2006" xmlns:p14="http://schemas.microsoft.com/office/powerpoint/2010/main">
    <mc:Choice Requires="p14">
      <p:transition spd="slow" p14:dur="1500" advClick="0" advTm="1000">
        <p:random/>
      </p:transition>
    </mc:Choice>
    <mc:Fallback xmlns="">
      <p:transition spd="slow" advClick="0" advTm="1000">
        <p:random/>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68B2DB4D-103F-4230-B0C7-29E15D3E5F4D}"/>
              </a:ext>
            </a:extLst>
          </p:cNvPr>
          <p:cNvSpPr>
            <a:spLocks noGrp="1"/>
          </p:cNvSpPr>
          <p:nvPr>
            <p:ph type="dt" sz="half" idx="10"/>
          </p:nvPr>
        </p:nvSpPr>
        <p:spPr/>
        <p:txBody>
          <a:bodyPr/>
          <a:lstStyle/>
          <a:p>
            <a:fld id="{BA389231-CF86-40D7-9C53-195B52E419EA}" type="datetimeFigureOut">
              <a:rPr lang="zh-CN" altLang="en-US" smtClean="0"/>
              <a:t>2024/5/31</a:t>
            </a:fld>
            <a:endParaRPr lang="zh-CN" altLang="en-US"/>
          </a:p>
        </p:txBody>
      </p:sp>
      <p:sp>
        <p:nvSpPr>
          <p:cNvPr id="3" name="页脚占位符 2">
            <a:extLst>
              <a:ext uri="{FF2B5EF4-FFF2-40B4-BE49-F238E27FC236}">
                <a16:creationId xmlns:a16="http://schemas.microsoft.com/office/drawing/2014/main" id="{253203C2-801D-4FBF-AD9E-D24B581BE86C}"/>
              </a:ext>
            </a:extLst>
          </p:cNvPr>
          <p:cNvSpPr>
            <a:spLocks noGrp="1"/>
          </p:cNvSpPr>
          <p:nvPr>
            <p:ph type="ftr" sz="quarter" idx="11"/>
          </p:nvPr>
        </p:nvSpPr>
        <p:spPr/>
        <p:txBody>
          <a:bodyPr/>
          <a:lstStyle/>
          <a:p>
            <a:endParaRPr lang="zh-CN" altLang="en-US"/>
          </a:p>
        </p:txBody>
      </p:sp>
      <p:sp>
        <p:nvSpPr>
          <p:cNvPr id="4" name="灯片编号占位符 3">
            <a:extLst>
              <a:ext uri="{FF2B5EF4-FFF2-40B4-BE49-F238E27FC236}">
                <a16:creationId xmlns:a16="http://schemas.microsoft.com/office/drawing/2014/main" id="{BE33CD67-4E2D-4695-B617-9408D7DF97AF}"/>
              </a:ext>
            </a:extLst>
          </p:cNvPr>
          <p:cNvSpPr>
            <a:spLocks noGrp="1"/>
          </p:cNvSpPr>
          <p:nvPr>
            <p:ph type="sldNum" sz="quarter" idx="12"/>
          </p:nvPr>
        </p:nvSpPr>
        <p:spPr/>
        <p:txBody>
          <a:bodyPr/>
          <a:lstStyle/>
          <a:p>
            <a:fld id="{AD8BD364-0A27-46F0-8315-F0F5B0BF1727}" type="slidenum">
              <a:rPr lang="zh-CN" altLang="en-US" smtClean="0"/>
              <a:t>‹#›</a:t>
            </a:fld>
            <a:endParaRPr lang="zh-CN" altLang="en-US"/>
          </a:p>
        </p:txBody>
      </p:sp>
    </p:spTree>
    <p:extLst>
      <p:ext uri="{BB962C8B-B14F-4D97-AF65-F5344CB8AC3E}">
        <p14:creationId xmlns:p14="http://schemas.microsoft.com/office/powerpoint/2010/main" val="2576273778"/>
      </p:ext>
    </p:extLst>
  </p:cSld>
  <p:clrMapOvr>
    <a:masterClrMapping/>
  </p:clrMapOvr>
  <mc:AlternateContent xmlns:mc="http://schemas.openxmlformats.org/markup-compatibility/2006" xmlns:p14="http://schemas.microsoft.com/office/powerpoint/2010/main">
    <mc:Choice Requires="p14">
      <p:transition spd="slow" p14:dur="1500" advClick="0" advTm="1000">
        <p:random/>
      </p:transition>
    </mc:Choice>
    <mc:Fallback xmlns="">
      <p:transition spd="slow" advClick="0" advTm="1000">
        <p:random/>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6" name="日期占位符 1">
            <a:extLst>
              <a:ext uri="{FF2B5EF4-FFF2-40B4-BE49-F238E27FC236}">
                <a16:creationId xmlns:a16="http://schemas.microsoft.com/office/drawing/2014/main" id="{BED8FDEA-D0B0-0B02-A136-F285B9114442}"/>
              </a:ext>
            </a:extLst>
          </p:cNvPr>
          <p:cNvSpPr>
            <a:spLocks noGrp="1"/>
          </p:cNvSpPr>
          <p:nvPr>
            <p:ph type="dt" sz="half" idx="10"/>
          </p:nvPr>
        </p:nvSpPr>
        <p:spPr>
          <a:xfrm>
            <a:off x="838200" y="6356350"/>
            <a:ext cx="2743200" cy="365125"/>
          </a:xfrm>
        </p:spPr>
        <p:txBody>
          <a:bodyPr/>
          <a:lstStyle/>
          <a:p>
            <a:fld id="{AEB346D4-0880-45D8-AD3A-661E932223DC}" type="datetimeFigureOut">
              <a:rPr lang="en-US" smtClean="0"/>
              <a:t>5/31/2024</a:t>
            </a:fld>
            <a:endParaRPr lang="en-US"/>
          </a:p>
        </p:txBody>
      </p:sp>
      <p:sp>
        <p:nvSpPr>
          <p:cNvPr id="7" name="页脚占位符 2">
            <a:extLst>
              <a:ext uri="{FF2B5EF4-FFF2-40B4-BE49-F238E27FC236}">
                <a16:creationId xmlns:a16="http://schemas.microsoft.com/office/drawing/2014/main" id="{7B21DCE5-F895-6401-BBCE-C23207DA14B6}"/>
              </a:ext>
            </a:extLst>
          </p:cNvPr>
          <p:cNvSpPr>
            <a:spLocks noGrp="1"/>
          </p:cNvSpPr>
          <p:nvPr>
            <p:ph type="ftr" sz="quarter" idx="11"/>
          </p:nvPr>
        </p:nvSpPr>
        <p:spPr>
          <a:xfrm>
            <a:off x="4038600" y="6356350"/>
            <a:ext cx="4114800" cy="365125"/>
          </a:xfrm>
        </p:spPr>
        <p:txBody>
          <a:bodyPr/>
          <a:lstStyle/>
          <a:p>
            <a:endParaRPr lang="en-US"/>
          </a:p>
        </p:txBody>
      </p:sp>
      <p:sp>
        <p:nvSpPr>
          <p:cNvPr id="8" name="灯片编号占位符 3">
            <a:extLst>
              <a:ext uri="{FF2B5EF4-FFF2-40B4-BE49-F238E27FC236}">
                <a16:creationId xmlns:a16="http://schemas.microsoft.com/office/drawing/2014/main" id="{CD3C56C6-928F-F88A-91E8-DF44678A5C77}"/>
              </a:ext>
            </a:extLst>
          </p:cNvPr>
          <p:cNvSpPr>
            <a:spLocks noGrp="1"/>
          </p:cNvSpPr>
          <p:nvPr>
            <p:ph type="sldNum" sz="quarter" idx="12"/>
          </p:nvPr>
        </p:nvSpPr>
        <p:spPr>
          <a:xfrm>
            <a:off x="8610600" y="6356350"/>
            <a:ext cx="2743200" cy="365125"/>
          </a:xfrm>
        </p:spPr>
        <p:txBody>
          <a:bodyPr/>
          <a:lstStyle/>
          <a:p>
            <a:fld id="{6973E886-DE44-40B2-9298-ECBB239BA4AC}" type="slidenum">
              <a:rPr lang="en-US" smtClean="0"/>
              <a:t>‹#›</a:t>
            </a:fld>
            <a:endParaRPr lang="en-US"/>
          </a:p>
        </p:txBody>
      </p:sp>
    </p:spTree>
    <p:extLst>
      <p:ext uri="{BB962C8B-B14F-4D97-AF65-F5344CB8AC3E}">
        <p14:creationId xmlns:p14="http://schemas.microsoft.com/office/powerpoint/2010/main" val="4020372304"/>
      </p:ext>
    </p:extLst>
  </p:cSld>
  <p:clrMapOvr>
    <a:masterClrMapping/>
  </p:clrMapOvr>
  <mc:AlternateContent xmlns:mc="http://schemas.openxmlformats.org/markup-compatibility/2006" xmlns:p14="http://schemas.microsoft.com/office/powerpoint/2010/main">
    <mc:Choice Requires="p14">
      <p:transition spd="slow" p14:dur="1500" advClick="0" advTm="1000">
        <p:random/>
      </p:transition>
    </mc:Choice>
    <mc:Fallback xmlns="">
      <p:transition spd="slow" advClick="0" advTm="1000">
        <p:random/>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2A8DE7A-FCB9-4F0C-9F63-DA0201F0380B}"/>
              </a:ext>
            </a:extLst>
          </p:cNvPr>
          <p:cNvSpPr>
            <a:spLocks noGrp="1"/>
          </p:cNvSpPr>
          <p:nvPr>
            <p:ph type="title"/>
          </p:nvPr>
        </p:nvSpPr>
        <p:spPr/>
        <p:txBody>
          <a:bodyPr/>
          <a:lstStyle/>
          <a:p>
            <a:r>
              <a:rPr lang="zh-CN" altLang="en-US"/>
              <a:t>单击此处编辑母版标题样式</a:t>
            </a:r>
          </a:p>
        </p:txBody>
      </p:sp>
      <p:sp>
        <p:nvSpPr>
          <p:cNvPr id="3" name="日期占位符 2">
            <a:extLst>
              <a:ext uri="{FF2B5EF4-FFF2-40B4-BE49-F238E27FC236}">
                <a16:creationId xmlns:a16="http://schemas.microsoft.com/office/drawing/2014/main" id="{AE00B7DB-31DA-45DC-8424-CB6DB8D75EBE}"/>
              </a:ext>
            </a:extLst>
          </p:cNvPr>
          <p:cNvSpPr>
            <a:spLocks noGrp="1"/>
          </p:cNvSpPr>
          <p:nvPr>
            <p:ph type="dt" sz="half" idx="10"/>
          </p:nvPr>
        </p:nvSpPr>
        <p:spPr/>
        <p:txBody>
          <a:bodyPr/>
          <a:lstStyle/>
          <a:p>
            <a:fld id="{6489D9C7-5DC6-4263-87FF-7C99F6FB63C3}" type="datetime1">
              <a:rPr lang="zh-CN" altLang="en-US" smtClean="0"/>
              <a:pPr/>
              <a:t>2024/5/31</a:t>
            </a:fld>
            <a:endParaRPr lang="zh-CN" altLang="en-US"/>
          </a:p>
        </p:txBody>
      </p:sp>
      <p:sp>
        <p:nvSpPr>
          <p:cNvPr id="4" name="页脚占位符 3">
            <a:extLst>
              <a:ext uri="{FF2B5EF4-FFF2-40B4-BE49-F238E27FC236}">
                <a16:creationId xmlns:a16="http://schemas.microsoft.com/office/drawing/2014/main" id="{6DB1ADA7-8B83-441E-83CB-57FB9953230C}"/>
              </a:ext>
            </a:extLst>
          </p:cNvPr>
          <p:cNvSpPr>
            <a:spLocks noGrp="1"/>
          </p:cNvSpPr>
          <p:nvPr>
            <p:ph type="ftr" sz="quarter" idx="11"/>
          </p:nvPr>
        </p:nvSpPr>
        <p:spPr/>
        <p:txBody>
          <a:bodyPr/>
          <a:lstStyle/>
          <a:p>
            <a:r>
              <a:rPr lang="en-US" altLang="zh-CN"/>
              <a:t>www.islide.cc</a:t>
            </a:r>
            <a:endParaRPr lang="zh-CN" altLang="en-US" dirty="0"/>
          </a:p>
        </p:txBody>
      </p:sp>
      <p:sp>
        <p:nvSpPr>
          <p:cNvPr id="5" name="灯片编号占位符 4">
            <a:extLst>
              <a:ext uri="{FF2B5EF4-FFF2-40B4-BE49-F238E27FC236}">
                <a16:creationId xmlns:a16="http://schemas.microsoft.com/office/drawing/2014/main" id="{16199532-C918-42F8-8770-7566BBF584C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418614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空白">
    <p:spTree>
      <p:nvGrpSpPr>
        <p:cNvPr id="1" name=""/>
        <p:cNvGrpSpPr/>
        <p:nvPr/>
      </p:nvGrpSpPr>
      <p:grpSpPr>
        <a:xfrm>
          <a:off x="0" y="0"/>
          <a:ext cx="0" cy="0"/>
          <a:chOff x="0" y="0"/>
          <a:chExt cx="0" cy="0"/>
        </a:xfrm>
      </p:grpSpPr>
      <p:sp>
        <p:nvSpPr>
          <p:cNvPr id="6" name="Date Placeholder 1">
            <a:extLst>
              <a:ext uri="{FF2B5EF4-FFF2-40B4-BE49-F238E27FC236}">
                <a16:creationId xmlns:a16="http://schemas.microsoft.com/office/drawing/2014/main" id="{6BB1CA1C-5613-2F47-D823-7748C4339F0D}"/>
              </a:ext>
            </a:extLst>
          </p:cNvPr>
          <p:cNvSpPr>
            <a:spLocks noGrp="1"/>
          </p:cNvSpPr>
          <p:nvPr>
            <p:ph type="dt" sz="half" idx="10"/>
          </p:nvPr>
        </p:nvSpPr>
        <p:spPr>
          <a:xfrm>
            <a:off x="5504656" y="6438900"/>
            <a:ext cx="1802924" cy="215900"/>
          </a:xfrm>
        </p:spPr>
        <p:txBody>
          <a:bodyPr/>
          <a:lstStyle/>
          <a:p>
            <a:fld id="{B5EAFED9-AAB6-4341-811F-085E63A91622}" type="datetime1">
              <a:rPr lang="zh-CN" altLang="en-US" smtClean="0"/>
              <a:t>2024/5/31</a:t>
            </a:fld>
            <a:endParaRPr lang="zh-CN" altLang="en-US"/>
          </a:p>
        </p:txBody>
      </p:sp>
      <p:sp>
        <p:nvSpPr>
          <p:cNvPr id="7" name="Footer Placeholder 2">
            <a:extLst>
              <a:ext uri="{FF2B5EF4-FFF2-40B4-BE49-F238E27FC236}">
                <a16:creationId xmlns:a16="http://schemas.microsoft.com/office/drawing/2014/main" id="{F90AC0BC-2DEE-AE18-C9EE-39B19DA8CFF5}"/>
              </a:ext>
            </a:extLst>
          </p:cNvPr>
          <p:cNvSpPr>
            <a:spLocks noGrp="1"/>
          </p:cNvSpPr>
          <p:nvPr>
            <p:ph type="ftr" sz="quarter" idx="11"/>
          </p:nvPr>
        </p:nvSpPr>
        <p:spPr>
          <a:xfrm>
            <a:off x="660401" y="6438900"/>
            <a:ext cx="3992171" cy="215900"/>
          </a:xfrm>
        </p:spPr>
        <p:txBody>
          <a:bodyPr/>
          <a:lstStyle/>
          <a:p>
            <a:endParaRPr lang="zh-CN" altLang="en-US"/>
          </a:p>
        </p:txBody>
      </p:sp>
      <p:sp>
        <p:nvSpPr>
          <p:cNvPr id="8" name="Slide Number Placeholder 3">
            <a:extLst>
              <a:ext uri="{FF2B5EF4-FFF2-40B4-BE49-F238E27FC236}">
                <a16:creationId xmlns:a16="http://schemas.microsoft.com/office/drawing/2014/main" id="{475BFBEE-FFA2-7821-36D1-20759677A43F}"/>
              </a:ext>
            </a:extLst>
          </p:cNvPr>
          <p:cNvSpPr>
            <a:spLocks noGrp="1"/>
          </p:cNvSpPr>
          <p:nvPr>
            <p:ph type="sldNum" sz="quarter" idx="12"/>
          </p:nvPr>
        </p:nvSpPr>
        <p:spPr>
          <a:xfrm>
            <a:off x="8857452" y="6438900"/>
            <a:ext cx="2661448" cy="215900"/>
          </a:xfrm>
        </p:spPr>
        <p:txBody>
          <a:bodyPr/>
          <a:lstStyle/>
          <a:p>
            <a:fld id="{7F65B630-C7FF-41C0-9923-C5E5E29EED81}" type="slidenum">
              <a:rPr lang="zh-CN" altLang="en-US" smtClean="0"/>
              <a:t>‹#›</a:t>
            </a:fld>
            <a:endParaRPr lang="zh-CN" altLang="en-US"/>
          </a:p>
        </p:txBody>
      </p:sp>
    </p:spTree>
    <p:extLst>
      <p:ext uri="{BB962C8B-B14F-4D97-AF65-F5344CB8AC3E}">
        <p14:creationId xmlns:p14="http://schemas.microsoft.com/office/powerpoint/2010/main" val="4039804399"/>
      </p:ext>
    </p:extLst>
  </p:cSld>
  <p:clrMapOvr>
    <a:masterClrMapping/>
  </p:clrMapOvr>
  <mc:AlternateContent xmlns:mc="http://schemas.openxmlformats.org/markup-compatibility/2006" xmlns:p14="http://schemas.microsoft.com/office/powerpoint/2010/main">
    <mc:Choice Requires="p14">
      <p:transition spd="slow" p14:dur="1500" advClick="0" advTm="1000">
        <p:random/>
      </p:transition>
    </mc:Choice>
    <mc:Fallback xmlns="">
      <p:transition spd="slow" advClick="0" advTm="1000">
        <p:random/>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空白">
    <p:spTree>
      <p:nvGrpSpPr>
        <p:cNvPr id="1" name=""/>
        <p:cNvGrpSpPr/>
        <p:nvPr/>
      </p:nvGrpSpPr>
      <p:grpSpPr>
        <a:xfrm>
          <a:off x="0" y="0"/>
          <a:ext cx="0" cy="0"/>
          <a:chOff x="0" y="0"/>
          <a:chExt cx="0" cy="0"/>
        </a:xfrm>
      </p:grpSpPr>
      <p:sp>
        <p:nvSpPr>
          <p:cNvPr id="6" name="Date Placeholder 1">
            <a:extLst>
              <a:ext uri="{FF2B5EF4-FFF2-40B4-BE49-F238E27FC236}">
                <a16:creationId xmlns:a16="http://schemas.microsoft.com/office/drawing/2014/main" id="{1A785A1E-2198-81A6-B133-C2BA8F0788E8}"/>
              </a:ext>
            </a:extLst>
          </p:cNvPr>
          <p:cNvSpPr>
            <a:spLocks noGrp="1"/>
          </p:cNvSpPr>
          <p:nvPr>
            <p:ph type="dt" sz="half" idx="10"/>
          </p:nvPr>
        </p:nvSpPr>
        <p:spPr>
          <a:xfrm>
            <a:off x="5504656" y="6438900"/>
            <a:ext cx="1802924" cy="215900"/>
          </a:xfrm>
        </p:spPr>
        <p:txBody>
          <a:bodyPr/>
          <a:lstStyle/>
          <a:p>
            <a:fld id="{B5EAFED9-AAB6-4341-811F-085E63A91622}" type="datetime1">
              <a:rPr lang="zh-CN" altLang="en-US" smtClean="0"/>
              <a:t>2024/5/31</a:t>
            </a:fld>
            <a:endParaRPr lang="zh-CN" altLang="en-US"/>
          </a:p>
        </p:txBody>
      </p:sp>
      <p:sp>
        <p:nvSpPr>
          <p:cNvPr id="7" name="Footer Placeholder 2">
            <a:extLst>
              <a:ext uri="{FF2B5EF4-FFF2-40B4-BE49-F238E27FC236}">
                <a16:creationId xmlns:a16="http://schemas.microsoft.com/office/drawing/2014/main" id="{8D681AF9-8C5E-4C67-9B69-96E0BC6AA0BC}"/>
              </a:ext>
            </a:extLst>
          </p:cNvPr>
          <p:cNvSpPr>
            <a:spLocks noGrp="1"/>
          </p:cNvSpPr>
          <p:nvPr>
            <p:ph type="ftr" sz="quarter" idx="11"/>
          </p:nvPr>
        </p:nvSpPr>
        <p:spPr>
          <a:xfrm>
            <a:off x="660401" y="6438900"/>
            <a:ext cx="3992171" cy="215900"/>
          </a:xfrm>
        </p:spPr>
        <p:txBody>
          <a:bodyPr/>
          <a:lstStyle/>
          <a:p>
            <a:endParaRPr lang="zh-CN" altLang="en-US"/>
          </a:p>
        </p:txBody>
      </p:sp>
      <p:sp>
        <p:nvSpPr>
          <p:cNvPr id="8" name="Slide Number Placeholder 3">
            <a:extLst>
              <a:ext uri="{FF2B5EF4-FFF2-40B4-BE49-F238E27FC236}">
                <a16:creationId xmlns:a16="http://schemas.microsoft.com/office/drawing/2014/main" id="{3238827F-6257-7AAA-10EE-610C70CA0A80}"/>
              </a:ext>
            </a:extLst>
          </p:cNvPr>
          <p:cNvSpPr>
            <a:spLocks noGrp="1"/>
          </p:cNvSpPr>
          <p:nvPr>
            <p:ph type="sldNum" sz="quarter" idx="12"/>
          </p:nvPr>
        </p:nvSpPr>
        <p:spPr>
          <a:xfrm>
            <a:off x="8857452" y="6438900"/>
            <a:ext cx="2661448" cy="215900"/>
          </a:xfrm>
        </p:spPr>
        <p:txBody>
          <a:bodyPr/>
          <a:lstStyle/>
          <a:p>
            <a:fld id="{7F65B630-C7FF-41C0-9923-C5E5E29EED81}" type="slidenum">
              <a:rPr lang="zh-CN" altLang="en-US" smtClean="0"/>
              <a:t>‹#›</a:t>
            </a:fld>
            <a:endParaRPr lang="zh-CN" altLang="en-US"/>
          </a:p>
        </p:txBody>
      </p:sp>
    </p:spTree>
    <p:extLst>
      <p:ext uri="{BB962C8B-B14F-4D97-AF65-F5344CB8AC3E}">
        <p14:creationId xmlns:p14="http://schemas.microsoft.com/office/powerpoint/2010/main" val="3755802135"/>
      </p:ext>
    </p:extLst>
  </p:cSld>
  <p:clrMapOvr>
    <a:masterClrMapping/>
  </p:clrMapOvr>
  <mc:AlternateContent xmlns:mc="http://schemas.openxmlformats.org/markup-compatibility/2006" xmlns:p14="http://schemas.microsoft.com/office/powerpoint/2010/main">
    <mc:Choice Requires="p14">
      <p:transition spd="slow" p14:dur="1500" advClick="0" advTm="1000">
        <p:random/>
      </p:transition>
    </mc:Choice>
    <mc:Fallback xmlns="">
      <p:transition spd="slow" advClick="0" advTm="1000">
        <p:random/>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lank-OfficePLUS">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9900540"/>
      </p:ext>
    </p:extLst>
  </p:cSld>
  <p:clrMapOvr>
    <a:masterClrMapping/>
  </p:clrMapOvr>
  <mc:AlternateContent xmlns:mc="http://schemas.openxmlformats.org/markup-compatibility/2006" xmlns:p14="http://schemas.microsoft.com/office/powerpoint/2010/main">
    <mc:Choice Requires="p14">
      <p:transition spd="slow" p14:dur="1500" advClick="0" advTm="1000">
        <p:random/>
      </p:transition>
    </mc:Choice>
    <mc:Fallback xmlns="">
      <p:transition spd="slow" advClick="0" advTm="1000">
        <p:random/>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末尾幻灯片">
    <p:spTree>
      <p:nvGrpSpPr>
        <p:cNvPr id="1" name=""/>
        <p:cNvGrpSpPr/>
        <p:nvPr/>
      </p:nvGrpSpPr>
      <p:grpSpPr>
        <a:xfrm>
          <a:off x="0" y="0"/>
          <a:ext cx="0" cy="0"/>
          <a:chOff x="0" y="0"/>
          <a:chExt cx="0" cy="0"/>
        </a:xfrm>
      </p:grpSpPr>
      <p:sp>
        <p:nvSpPr>
          <p:cNvPr id="5" name="任意多边形: 形状 4">
            <a:extLst>
              <a:ext uri="{FF2B5EF4-FFF2-40B4-BE49-F238E27FC236}">
                <a16:creationId xmlns:a16="http://schemas.microsoft.com/office/drawing/2014/main" id="{70FD56A0-9D7E-4BF4-B461-107B23D7F845}"/>
              </a:ext>
            </a:extLst>
          </p:cNvPr>
          <p:cNvSpPr/>
          <p:nvPr userDrawn="1"/>
        </p:nvSpPr>
        <p:spPr bwMode="auto">
          <a:xfrm>
            <a:off x="0" y="3135490"/>
            <a:ext cx="12226330" cy="3722511"/>
          </a:xfrm>
          <a:custGeom>
            <a:avLst/>
            <a:gdLst>
              <a:gd name="connsiteX0" fmla="*/ 4492347 w 12305293"/>
              <a:gd name="connsiteY0" fmla="*/ 3668778 h 3722511"/>
              <a:gd name="connsiteX1" fmla="*/ 4492347 w 12305293"/>
              <a:gd name="connsiteY1" fmla="*/ 3668779 h 3722511"/>
              <a:gd name="connsiteX2" fmla="*/ 4492419 w 12305293"/>
              <a:gd name="connsiteY2" fmla="*/ 3668779 h 3722511"/>
              <a:gd name="connsiteX3" fmla="*/ 4493162 w 12305293"/>
              <a:gd name="connsiteY3" fmla="*/ 3668779 h 3722511"/>
              <a:gd name="connsiteX4" fmla="*/ 4499732 w 12305293"/>
              <a:gd name="connsiteY4" fmla="*/ 3668779 h 3722511"/>
              <a:gd name="connsiteX5" fmla="*/ 4515335 w 12305293"/>
              <a:gd name="connsiteY5" fmla="*/ 3668779 h 3722511"/>
              <a:gd name="connsiteX6" fmla="*/ 4545722 w 12305293"/>
              <a:gd name="connsiteY6" fmla="*/ 3668779 h 3722511"/>
              <a:gd name="connsiteX7" fmla="*/ 4595819 w 12305293"/>
              <a:gd name="connsiteY7" fmla="*/ 3668779 h 3722511"/>
              <a:gd name="connsiteX8" fmla="*/ 4670553 w 12305293"/>
              <a:gd name="connsiteY8" fmla="*/ 3668779 h 3722511"/>
              <a:gd name="connsiteX9" fmla="*/ 4774853 w 12305293"/>
              <a:gd name="connsiteY9" fmla="*/ 3668779 h 3722511"/>
              <a:gd name="connsiteX10" fmla="*/ 4913644 w 12305293"/>
              <a:gd name="connsiteY10" fmla="*/ 3668779 h 3722511"/>
              <a:gd name="connsiteX11" fmla="*/ 5282926 w 12305293"/>
              <a:gd name="connsiteY11" fmla="*/ 3668779 h 3722511"/>
              <a:gd name="connsiteX12" fmla="*/ 5282926 w 12305293"/>
              <a:gd name="connsiteY12" fmla="*/ 3668778 h 3722511"/>
              <a:gd name="connsiteX13" fmla="*/ 4916885 w 12305293"/>
              <a:gd name="connsiteY13" fmla="*/ 3668778 h 3722511"/>
              <a:gd name="connsiteX14" fmla="*/ 4913644 w 12305293"/>
              <a:gd name="connsiteY14" fmla="*/ 3668778 h 3722511"/>
              <a:gd name="connsiteX15" fmla="*/ 4492419 w 12305293"/>
              <a:gd name="connsiteY15" fmla="*/ 3668778 h 3722511"/>
              <a:gd name="connsiteX16" fmla="*/ 3055361 w 12305293"/>
              <a:gd name="connsiteY16" fmla="*/ 3644953 h 3722511"/>
              <a:gd name="connsiteX17" fmla="*/ 3055361 w 12305293"/>
              <a:gd name="connsiteY17" fmla="*/ 3703690 h 3722511"/>
              <a:gd name="connsiteX18" fmla="*/ 3065125 w 12305293"/>
              <a:gd name="connsiteY18" fmla="*/ 3703690 h 3722511"/>
              <a:gd name="connsiteX19" fmla="*/ 3065125 w 12305293"/>
              <a:gd name="connsiteY19" fmla="*/ 3703148 h 3722511"/>
              <a:gd name="connsiteX20" fmla="*/ 3065098 w 12305293"/>
              <a:gd name="connsiteY20" fmla="*/ 3703148 h 3722511"/>
              <a:gd name="connsiteX21" fmla="*/ 3065098 w 12305293"/>
              <a:gd name="connsiteY21" fmla="*/ 3645226 h 3722511"/>
              <a:gd name="connsiteX22" fmla="*/ 3065125 w 12305293"/>
              <a:gd name="connsiteY22" fmla="*/ 3645226 h 3722511"/>
              <a:gd name="connsiteX23" fmla="*/ 3065125 w 12305293"/>
              <a:gd name="connsiteY23" fmla="*/ 3644953 h 3722511"/>
              <a:gd name="connsiteX24" fmla="*/ 8119019 w 12305293"/>
              <a:gd name="connsiteY24" fmla="*/ 3193932 h 3722511"/>
              <a:gd name="connsiteX25" fmla="*/ 8118360 w 12305293"/>
              <a:gd name="connsiteY25" fmla="*/ 3194577 h 3722511"/>
              <a:gd name="connsiteX26" fmla="*/ 8085010 w 12305293"/>
              <a:gd name="connsiteY26" fmla="*/ 3227255 h 3722511"/>
              <a:gd name="connsiteX27" fmla="*/ 8055685 w 12305293"/>
              <a:gd name="connsiteY27" fmla="*/ 3255988 h 3722511"/>
              <a:gd name="connsiteX28" fmla="*/ 8055847 w 12305293"/>
              <a:gd name="connsiteY28" fmla="*/ 3255988 h 3722511"/>
              <a:gd name="connsiteX29" fmla="*/ 8119019 w 12305293"/>
              <a:gd name="connsiteY29" fmla="*/ 3194711 h 3722511"/>
              <a:gd name="connsiteX30" fmla="*/ 11570066 w 12305293"/>
              <a:gd name="connsiteY30" fmla="*/ 3115784 h 3722511"/>
              <a:gd name="connsiteX31" fmla="*/ 11567505 w 12305293"/>
              <a:gd name="connsiteY31" fmla="*/ 3117981 h 3722511"/>
              <a:gd name="connsiteX32" fmla="*/ 11563060 w 12305293"/>
              <a:gd name="connsiteY32" fmla="*/ 3121791 h 3722511"/>
              <a:gd name="connsiteX33" fmla="*/ 11569818 w 12305293"/>
              <a:gd name="connsiteY33" fmla="*/ 3116273 h 3722511"/>
              <a:gd name="connsiteX34" fmla="*/ 11679984 w 12305293"/>
              <a:gd name="connsiteY34" fmla="*/ 3203585 h 3722511"/>
              <a:gd name="connsiteX35" fmla="*/ 11679984 w 12305293"/>
              <a:gd name="connsiteY35" fmla="*/ 3575086 h 3722511"/>
              <a:gd name="connsiteX36" fmla="*/ 11680221 w 12305293"/>
              <a:gd name="connsiteY36" fmla="*/ 3575086 h 3722511"/>
              <a:gd name="connsiteX37" fmla="*/ 11680221 w 12305293"/>
              <a:gd name="connsiteY37" fmla="*/ 3574404 h 3722511"/>
              <a:gd name="connsiteX38" fmla="*/ 11680221 w 12305293"/>
              <a:gd name="connsiteY38" fmla="*/ 3203637 h 3722511"/>
              <a:gd name="connsiteX39" fmla="*/ 11570066 w 12305293"/>
              <a:gd name="connsiteY39" fmla="*/ 3115784 h 3722511"/>
              <a:gd name="connsiteX40" fmla="*/ 3697880 w 12305293"/>
              <a:gd name="connsiteY40" fmla="*/ 3081386 h 3722511"/>
              <a:gd name="connsiteX41" fmla="*/ 3697875 w 12305293"/>
              <a:gd name="connsiteY41" fmla="*/ 3081401 h 3722511"/>
              <a:gd name="connsiteX42" fmla="*/ 3883174 w 12305293"/>
              <a:gd name="connsiteY42" fmla="*/ 3081401 h 3722511"/>
              <a:gd name="connsiteX43" fmla="*/ 3883174 w 12305293"/>
              <a:gd name="connsiteY43" fmla="*/ 3081386 h 3722511"/>
              <a:gd name="connsiteX44" fmla="*/ 3863317 w 12305293"/>
              <a:gd name="connsiteY44" fmla="*/ 3081386 h 3722511"/>
              <a:gd name="connsiteX45" fmla="*/ 3736453 w 12305293"/>
              <a:gd name="connsiteY45" fmla="*/ 3081386 h 3722511"/>
              <a:gd name="connsiteX46" fmla="*/ 3716784 w 12305293"/>
              <a:gd name="connsiteY46" fmla="*/ 3081386 h 3722511"/>
              <a:gd name="connsiteX47" fmla="*/ 6938046 w 12305293"/>
              <a:gd name="connsiteY47" fmla="*/ 3017605 h 3722511"/>
              <a:gd name="connsiteX48" fmla="*/ 6960659 w 12305293"/>
              <a:gd name="connsiteY48" fmla="*/ 3084483 h 3722511"/>
              <a:gd name="connsiteX49" fmla="*/ 6961143 w 12305293"/>
              <a:gd name="connsiteY49" fmla="*/ 3079838 h 3722511"/>
              <a:gd name="connsiteX50" fmla="*/ 6984400 w 12305293"/>
              <a:gd name="connsiteY50" fmla="*/ 2912583 h 3722511"/>
              <a:gd name="connsiteX51" fmla="*/ 6981535 w 12305293"/>
              <a:gd name="connsiteY51" fmla="*/ 2923841 h 3722511"/>
              <a:gd name="connsiteX52" fmla="*/ 6980146 w 12305293"/>
              <a:gd name="connsiteY52" fmla="*/ 2934684 h 3722511"/>
              <a:gd name="connsiteX53" fmla="*/ 7989526 w 12305293"/>
              <a:gd name="connsiteY53" fmla="*/ 2692114 h 3722511"/>
              <a:gd name="connsiteX54" fmla="*/ 7989526 w 12305293"/>
              <a:gd name="connsiteY54" fmla="*/ 2844695 h 3722511"/>
              <a:gd name="connsiteX55" fmla="*/ 7990072 w 12305293"/>
              <a:gd name="connsiteY55" fmla="*/ 2844695 h 3722511"/>
              <a:gd name="connsiteX56" fmla="*/ 8075811 w 12305293"/>
              <a:gd name="connsiteY56" fmla="*/ 2844695 h 3722511"/>
              <a:gd name="connsiteX57" fmla="*/ 8075811 w 12305293"/>
              <a:gd name="connsiteY57" fmla="*/ 2734251 h 3722511"/>
              <a:gd name="connsiteX58" fmla="*/ 8028419 w 12305293"/>
              <a:gd name="connsiteY58" fmla="*/ 2717622 h 3722511"/>
              <a:gd name="connsiteX59" fmla="*/ 3071561 w 12305293"/>
              <a:gd name="connsiteY59" fmla="*/ 2528938 h 3722511"/>
              <a:gd name="connsiteX60" fmla="*/ 3196297 w 12305293"/>
              <a:gd name="connsiteY60" fmla="*/ 2625773 h 3722511"/>
              <a:gd name="connsiteX61" fmla="*/ 3196299 w 12305293"/>
              <a:gd name="connsiteY61" fmla="*/ 2625775 h 3722511"/>
              <a:gd name="connsiteX62" fmla="*/ 3196299 w 12305293"/>
              <a:gd name="connsiteY62" fmla="*/ 2625776 h 3722511"/>
              <a:gd name="connsiteX63" fmla="*/ 3196299 w 12305293"/>
              <a:gd name="connsiteY63" fmla="*/ 2654350 h 3722511"/>
              <a:gd name="connsiteX64" fmla="*/ 3165953 w 12305293"/>
              <a:gd name="connsiteY64" fmla="*/ 2689129 h 3722511"/>
              <a:gd name="connsiteX65" fmla="*/ 3167645 w 12305293"/>
              <a:gd name="connsiteY65" fmla="*/ 2692529 h 3722511"/>
              <a:gd name="connsiteX66" fmla="*/ 3161007 w 12305293"/>
              <a:gd name="connsiteY66" fmla="*/ 2712135 h 3722511"/>
              <a:gd name="connsiteX67" fmla="*/ 3136012 w 12305293"/>
              <a:gd name="connsiteY67" fmla="*/ 2742298 h 3722511"/>
              <a:gd name="connsiteX68" fmla="*/ 3115705 w 12305293"/>
              <a:gd name="connsiteY68" fmla="*/ 2750215 h 3722511"/>
              <a:gd name="connsiteX69" fmla="*/ 3113426 w 12305293"/>
              <a:gd name="connsiteY69" fmla="*/ 2749327 h 3722511"/>
              <a:gd name="connsiteX70" fmla="*/ 3005140 w 12305293"/>
              <a:gd name="connsiteY70" fmla="*/ 2873426 h 3722511"/>
              <a:gd name="connsiteX71" fmla="*/ 2946823 w 12305293"/>
              <a:gd name="connsiteY71" fmla="*/ 2824213 h 3722511"/>
              <a:gd name="connsiteX72" fmla="*/ 2946823 w 12305293"/>
              <a:gd name="connsiteY72" fmla="*/ 2797226 h 3722511"/>
              <a:gd name="connsiteX73" fmla="*/ 2946823 w 12305293"/>
              <a:gd name="connsiteY73" fmla="*/ 2794051 h 3722511"/>
              <a:gd name="connsiteX74" fmla="*/ 2946823 w 12305293"/>
              <a:gd name="connsiteY74" fmla="*/ 2648001 h 3722511"/>
              <a:gd name="connsiteX75" fmla="*/ 6315875 w 12305293"/>
              <a:gd name="connsiteY75" fmla="*/ 2458142 h 3722511"/>
              <a:gd name="connsiteX76" fmla="*/ 6464458 w 12305293"/>
              <a:gd name="connsiteY76" fmla="*/ 2535954 h 3722511"/>
              <a:gd name="connsiteX77" fmla="*/ 6315875 w 12305293"/>
              <a:gd name="connsiteY77" fmla="*/ 2535954 h 3722511"/>
              <a:gd name="connsiteX78" fmla="*/ 6315875 w 12305293"/>
              <a:gd name="connsiteY78" fmla="*/ 2458142 h 3722511"/>
              <a:gd name="connsiteX79" fmla="*/ 1155115 w 12305293"/>
              <a:gd name="connsiteY79" fmla="*/ 2386064 h 3722511"/>
              <a:gd name="connsiteX80" fmla="*/ 1490024 w 12305293"/>
              <a:gd name="connsiteY80" fmla="*/ 2654788 h 3722511"/>
              <a:gd name="connsiteX81" fmla="*/ 1493718 w 12305293"/>
              <a:gd name="connsiteY81" fmla="*/ 2690879 h 3722511"/>
              <a:gd name="connsiteX82" fmla="*/ 1587686 w 12305293"/>
              <a:gd name="connsiteY82" fmla="*/ 2690879 h 3722511"/>
              <a:gd name="connsiteX83" fmla="*/ 1587686 w 12305293"/>
              <a:gd name="connsiteY83" fmla="*/ 2754379 h 3722511"/>
              <a:gd name="connsiteX84" fmla="*/ 1556890 w 12305293"/>
              <a:gd name="connsiteY84" fmla="*/ 2754379 h 3722511"/>
              <a:gd name="connsiteX85" fmla="*/ 1556890 w 12305293"/>
              <a:gd name="connsiteY85" fmla="*/ 3254429 h 3722511"/>
              <a:gd name="connsiteX86" fmla="*/ 1597376 w 12305293"/>
              <a:gd name="connsiteY86" fmla="*/ 3254429 h 3722511"/>
              <a:gd name="connsiteX87" fmla="*/ 1597376 w 12305293"/>
              <a:gd name="connsiteY87" fmla="*/ 3722511 h 3722511"/>
              <a:gd name="connsiteX88" fmla="*/ 712805 w 12305293"/>
              <a:gd name="connsiteY88" fmla="*/ 3722511 h 3722511"/>
              <a:gd name="connsiteX89" fmla="*/ 712805 w 12305293"/>
              <a:gd name="connsiteY89" fmla="*/ 3254429 h 3722511"/>
              <a:gd name="connsiteX90" fmla="*/ 753308 w 12305293"/>
              <a:gd name="connsiteY90" fmla="*/ 3254429 h 3722511"/>
              <a:gd name="connsiteX91" fmla="*/ 753308 w 12305293"/>
              <a:gd name="connsiteY91" fmla="*/ 2754379 h 3722511"/>
              <a:gd name="connsiteX92" fmla="*/ 725784 w 12305293"/>
              <a:gd name="connsiteY92" fmla="*/ 2754379 h 3722511"/>
              <a:gd name="connsiteX93" fmla="*/ 725783 w 12305293"/>
              <a:gd name="connsiteY93" fmla="*/ 2754379 h 3722511"/>
              <a:gd name="connsiteX94" fmla="*/ 725783 w 12305293"/>
              <a:gd name="connsiteY94" fmla="*/ 2754375 h 3722511"/>
              <a:gd name="connsiteX95" fmla="*/ 725770 w 12305293"/>
              <a:gd name="connsiteY95" fmla="*/ 2754375 h 3722511"/>
              <a:gd name="connsiteX96" fmla="*/ 725770 w 12305293"/>
              <a:gd name="connsiteY96" fmla="*/ 2690875 h 3722511"/>
              <a:gd name="connsiteX97" fmla="*/ 813259 w 12305293"/>
              <a:gd name="connsiteY97" fmla="*/ 2690875 h 3722511"/>
              <a:gd name="connsiteX98" fmla="*/ 813273 w 12305293"/>
              <a:gd name="connsiteY98" fmla="*/ 2690875 h 3722511"/>
              <a:gd name="connsiteX99" fmla="*/ 818269 w 12305293"/>
              <a:gd name="connsiteY99" fmla="*/ 2673636 h 3722511"/>
              <a:gd name="connsiteX100" fmla="*/ 820196 w 12305293"/>
              <a:gd name="connsiteY100" fmla="*/ 2654788 h 3722511"/>
              <a:gd name="connsiteX101" fmla="*/ 833127 w 12305293"/>
              <a:gd name="connsiteY101" fmla="*/ 2622359 h 3722511"/>
              <a:gd name="connsiteX102" fmla="*/ 846192 w 12305293"/>
              <a:gd name="connsiteY102" fmla="*/ 2577292 h 3722511"/>
              <a:gd name="connsiteX103" fmla="*/ 856734 w 12305293"/>
              <a:gd name="connsiteY103" fmla="*/ 2563166 h 3722511"/>
              <a:gd name="connsiteX104" fmla="*/ 862739 w 12305293"/>
              <a:gd name="connsiteY104" fmla="*/ 2548101 h 3722511"/>
              <a:gd name="connsiteX105" fmla="*/ 897349 w 12305293"/>
              <a:gd name="connsiteY105" fmla="*/ 2508748 h 3722511"/>
              <a:gd name="connsiteX106" fmla="*/ 915823 w 12305293"/>
              <a:gd name="connsiteY106" fmla="*/ 2483994 h 3722511"/>
              <a:gd name="connsiteX107" fmla="*/ 926895 w 12305293"/>
              <a:gd name="connsiteY107" fmla="*/ 2475150 h 3722511"/>
              <a:gd name="connsiteX108" fmla="*/ 937650 w 12305293"/>
              <a:gd name="connsiteY108" fmla="*/ 2462916 h 3722511"/>
              <a:gd name="connsiteX109" fmla="*/ 1094597 w 12305293"/>
              <a:gd name="connsiteY109" fmla="*/ 2391320 h 3722511"/>
              <a:gd name="connsiteX110" fmla="*/ 1145816 w 12305293"/>
              <a:gd name="connsiteY110" fmla="*/ 2386872 h 3722511"/>
              <a:gd name="connsiteX111" fmla="*/ 1145816 w 12305293"/>
              <a:gd name="connsiteY111" fmla="*/ 2386077 h 3722511"/>
              <a:gd name="connsiteX112" fmla="*/ 1148921 w 12305293"/>
              <a:gd name="connsiteY112" fmla="*/ 2386077 h 3722511"/>
              <a:gd name="connsiteX113" fmla="*/ 1152027 w 12305293"/>
              <a:gd name="connsiteY113" fmla="*/ 2386077 h 3722511"/>
              <a:gd name="connsiteX114" fmla="*/ 1154965 w 12305293"/>
              <a:gd name="connsiteY114" fmla="*/ 2386077 h 3722511"/>
              <a:gd name="connsiteX115" fmla="*/ 2565784 w 12305293"/>
              <a:gd name="connsiteY115" fmla="*/ 2202783 h 3722511"/>
              <a:gd name="connsiteX116" fmla="*/ 2578487 w 12305293"/>
              <a:gd name="connsiteY116" fmla="*/ 2225179 h 3722511"/>
              <a:gd name="connsiteX117" fmla="*/ 2603093 w 12305293"/>
              <a:gd name="connsiteY117" fmla="*/ 2264359 h 3722511"/>
              <a:gd name="connsiteX118" fmla="*/ 2610026 w 12305293"/>
              <a:gd name="connsiteY118" fmla="*/ 2272947 h 3722511"/>
              <a:gd name="connsiteX119" fmla="*/ 2642542 w 12305293"/>
              <a:gd name="connsiteY119" fmla="*/ 2310231 h 3722511"/>
              <a:gd name="connsiteX120" fmla="*/ 2642970 w 12305293"/>
              <a:gd name="connsiteY120" fmla="*/ 2306384 h 3722511"/>
              <a:gd name="connsiteX121" fmla="*/ 2650840 w 12305293"/>
              <a:gd name="connsiteY121" fmla="*/ 2211284 h 3722511"/>
              <a:gd name="connsiteX122" fmla="*/ 2646489 w 12305293"/>
              <a:gd name="connsiteY122" fmla="*/ 2210693 h 3722511"/>
              <a:gd name="connsiteX123" fmla="*/ 2633487 w 12305293"/>
              <a:gd name="connsiteY123" fmla="*/ 2208925 h 3722511"/>
              <a:gd name="connsiteX124" fmla="*/ 2621182 w 12305293"/>
              <a:gd name="connsiteY124" fmla="*/ 2207253 h 3722511"/>
              <a:gd name="connsiteX125" fmla="*/ 10960470 w 12305293"/>
              <a:gd name="connsiteY125" fmla="*/ 2046601 h 3722511"/>
              <a:gd name="connsiteX126" fmla="*/ 10937308 w 12305293"/>
              <a:gd name="connsiteY126" fmla="*/ 2081629 h 3722511"/>
              <a:gd name="connsiteX127" fmla="*/ 10937308 w 12305293"/>
              <a:gd name="connsiteY127" fmla="*/ 3014574 h 3722511"/>
              <a:gd name="connsiteX128" fmla="*/ 10937308 w 12305293"/>
              <a:gd name="connsiteY128" fmla="*/ 3133711 h 3722511"/>
              <a:gd name="connsiteX129" fmla="*/ 10937990 w 12305293"/>
              <a:gd name="connsiteY129" fmla="*/ 3134251 h 3722511"/>
              <a:gd name="connsiteX130" fmla="*/ 10937990 w 12305293"/>
              <a:gd name="connsiteY130" fmla="*/ 2081284 h 3722511"/>
              <a:gd name="connsiteX131" fmla="*/ 6208575 w 12305293"/>
              <a:gd name="connsiteY131" fmla="*/ 2026397 h 3722511"/>
              <a:gd name="connsiteX132" fmla="*/ 6208575 w 12305293"/>
              <a:gd name="connsiteY132" fmla="*/ 2536122 h 3722511"/>
              <a:gd name="connsiteX133" fmla="*/ 6597943 w 12305293"/>
              <a:gd name="connsiteY133" fmla="*/ 2536122 h 3722511"/>
              <a:gd name="connsiteX134" fmla="*/ 6208575 w 12305293"/>
              <a:gd name="connsiteY134" fmla="*/ 2026397 h 3722511"/>
              <a:gd name="connsiteX135" fmla="*/ 11245806 w 12305293"/>
              <a:gd name="connsiteY135" fmla="*/ 1609787 h 3722511"/>
              <a:gd name="connsiteX136" fmla="*/ 11550381 w 12305293"/>
              <a:gd name="connsiteY136" fmla="*/ 2081284 h 3722511"/>
              <a:gd name="connsiteX137" fmla="*/ 11550381 w 12305293"/>
              <a:gd name="connsiteY137" fmla="*/ 2972709 h 3722511"/>
              <a:gd name="connsiteX138" fmla="*/ 11552173 w 12305293"/>
              <a:gd name="connsiteY138" fmla="*/ 2972709 h 3722511"/>
              <a:gd name="connsiteX139" fmla="*/ 11716086 w 12305293"/>
              <a:gd name="connsiteY139" fmla="*/ 2972709 h 3722511"/>
              <a:gd name="connsiteX140" fmla="*/ 11716086 w 12305293"/>
              <a:gd name="connsiteY140" fmla="*/ 3469088 h 3722511"/>
              <a:gd name="connsiteX141" fmla="*/ 11716086 w 12305293"/>
              <a:gd name="connsiteY141" fmla="*/ 3575086 h 3722511"/>
              <a:gd name="connsiteX142" fmla="*/ 11717206 w 12305293"/>
              <a:gd name="connsiteY142" fmla="*/ 3575086 h 3722511"/>
              <a:gd name="connsiteX143" fmla="*/ 11717206 w 12305293"/>
              <a:gd name="connsiteY143" fmla="*/ 2862263 h 3722511"/>
              <a:gd name="connsiteX144" fmla="*/ 11744266 w 12305293"/>
              <a:gd name="connsiteY144" fmla="*/ 2862263 h 3722511"/>
              <a:gd name="connsiteX145" fmla="*/ 11744266 w 12305293"/>
              <a:gd name="connsiteY145" fmla="*/ 2858069 h 3722511"/>
              <a:gd name="connsiteX146" fmla="*/ 11744266 w 12305293"/>
              <a:gd name="connsiteY146" fmla="*/ 2593686 h 3722511"/>
              <a:gd name="connsiteX147" fmla="*/ 12059363 w 12305293"/>
              <a:gd name="connsiteY147" fmla="*/ 2593686 h 3722511"/>
              <a:gd name="connsiteX148" fmla="*/ 12059363 w 12305293"/>
              <a:gd name="connsiteY148" fmla="*/ 2023897 h 3722511"/>
              <a:gd name="connsiteX149" fmla="*/ 12305293 w 12305293"/>
              <a:gd name="connsiteY149" fmla="*/ 2023897 h 3722511"/>
              <a:gd name="connsiteX150" fmla="*/ 12305293 w 12305293"/>
              <a:gd name="connsiteY150" fmla="*/ 3577968 h 3722511"/>
              <a:gd name="connsiteX151" fmla="*/ 12305293 w 12305293"/>
              <a:gd name="connsiteY151" fmla="*/ 3722511 h 3722511"/>
              <a:gd name="connsiteX152" fmla="*/ 12213069 w 12305293"/>
              <a:gd name="connsiteY152" fmla="*/ 3722511 h 3722511"/>
              <a:gd name="connsiteX153" fmla="*/ 12213069 w 12305293"/>
              <a:gd name="connsiteY153" fmla="*/ 3713498 h 3722511"/>
              <a:gd name="connsiteX154" fmla="*/ 12213069 w 12305293"/>
              <a:gd name="connsiteY154" fmla="*/ 3575130 h 3722511"/>
              <a:gd name="connsiteX155" fmla="*/ 12212958 w 12305293"/>
              <a:gd name="connsiteY155" fmla="*/ 3575130 h 3722511"/>
              <a:gd name="connsiteX156" fmla="*/ 12212958 w 12305293"/>
              <a:gd name="connsiteY156" fmla="*/ 3722511 h 3722511"/>
              <a:gd name="connsiteX157" fmla="*/ 10750299 w 12305293"/>
              <a:gd name="connsiteY157" fmla="*/ 3722511 h 3722511"/>
              <a:gd name="connsiteX158" fmla="*/ 10750299 w 12305293"/>
              <a:gd name="connsiteY158" fmla="*/ 3665739 h 3722511"/>
              <a:gd name="connsiteX159" fmla="*/ 10750299 w 12305293"/>
              <a:gd name="connsiteY159" fmla="*/ 2395390 h 3722511"/>
              <a:gd name="connsiteX160" fmla="*/ 10834837 w 12305293"/>
              <a:gd name="connsiteY160" fmla="*/ 2440571 h 3722511"/>
              <a:gd name="connsiteX161" fmla="*/ 10834837 w 12305293"/>
              <a:gd name="connsiteY161" fmla="*/ 1903413 h 3722511"/>
              <a:gd name="connsiteX162" fmla="*/ 10982429 w 12305293"/>
              <a:gd name="connsiteY162" fmla="*/ 1903413 h 3722511"/>
              <a:gd name="connsiteX163" fmla="*/ 11053278 w 12305293"/>
              <a:gd name="connsiteY163" fmla="*/ 1903413 h 3722511"/>
              <a:gd name="connsiteX164" fmla="*/ 11242565 w 12305293"/>
              <a:gd name="connsiteY164" fmla="*/ 1611374 h 3722511"/>
              <a:gd name="connsiteX165" fmla="*/ 11124299 w 12305293"/>
              <a:gd name="connsiteY165" fmla="*/ 2086046 h 3722511"/>
              <a:gd name="connsiteX166" fmla="*/ 11124469 w 12305293"/>
              <a:gd name="connsiteY166" fmla="*/ 2086046 h 3722511"/>
              <a:gd name="connsiteX167" fmla="*/ 11125038 w 12305293"/>
              <a:gd name="connsiteY167" fmla="*/ 2083786 h 3722511"/>
              <a:gd name="connsiteX168" fmla="*/ 11170430 w 12305293"/>
              <a:gd name="connsiteY168" fmla="*/ 1903413 h 3722511"/>
              <a:gd name="connsiteX169" fmla="*/ 11226788 w 12305293"/>
              <a:gd name="connsiteY169" fmla="*/ 1903413 h 3722511"/>
              <a:gd name="connsiteX170" fmla="*/ 11226788 w 12305293"/>
              <a:gd name="connsiteY170" fmla="*/ 1918757 h 3722511"/>
              <a:gd name="connsiteX171" fmla="*/ 11226788 w 12305293"/>
              <a:gd name="connsiteY171" fmla="*/ 1932567 h 3722511"/>
              <a:gd name="connsiteX172" fmla="*/ 11237702 w 12305293"/>
              <a:gd name="connsiteY172" fmla="*/ 1930408 h 3722511"/>
              <a:gd name="connsiteX173" fmla="*/ 11317086 w 12305293"/>
              <a:gd name="connsiteY173" fmla="*/ 2008196 h 3722511"/>
              <a:gd name="connsiteX174" fmla="*/ 11237702 w 12305293"/>
              <a:gd name="connsiteY174" fmla="*/ 2085984 h 3722511"/>
              <a:gd name="connsiteX175" fmla="*/ 11226788 w 12305293"/>
              <a:gd name="connsiteY175" fmla="*/ 2083825 h 3722511"/>
              <a:gd name="connsiteX176" fmla="*/ 11226788 w 12305293"/>
              <a:gd name="connsiteY176" fmla="*/ 2086046 h 3722511"/>
              <a:gd name="connsiteX177" fmla="*/ 11362452 w 12305293"/>
              <a:gd name="connsiteY177" fmla="*/ 2086046 h 3722511"/>
              <a:gd name="connsiteX178" fmla="*/ 11242565 w 12305293"/>
              <a:gd name="connsiteY178" fmla="*/ 1611374 h 3722511"/>
              <a:gd name="connsiteX179" fmla="*/ 7558484 w 12305293"/>
              <a:gd name="connsiteY179" fmla="*/ 1533541 h 3722511"/>
              <a:gd name="connsiteX180" fmla="*/ 7642728 w 12305293"/>
              <a:gd name="connsiteY180" fmla="*/ 1533541 h 3722511"/>
              <a:gd name="connsiteX181" fmla="*/ 7642728 w 12305293"/>
              <a:gd name="connsiteY181" fmla="*/ 1544514 h 3722511"/>
              <a:gd name="connsiteX182" fmla="*/ 7642728 w 12305293"/>
              <a:gd name="connsiteY182" fmla="*/ 1579579 h 3722511"/>
              <a:gd name="connsiteX183" fmla="*/ 7642728 w 12305293"/>
              <a:gd name="connsiteY183" fmla="*/ 1581166 h 3722511"/>
              <a:gd name="connsiteX184" fmla="*/ 7642728 w 12305293"/>
              <a:gd name="connsiteY184" fmla="*/ 1622442 h 3722511"/>
              <a:gd name="connsiteX185" fmla="*/ 7642728 w 12305293"/>
              <a:gd name="connsiteY185" fmla="*/ 1627204 h 3722511"/>
              <a:gd name="connsiteX186" fmla="*/ 7642728 w 12305293"/>
              <a:gd name="connsiteY186" fmla="*/ 1666892 h 3722511"/>
              <a:gd name="connsiteX187" fmla="*/ 7642728 w 12305293"/>
              <a:gd name="connsiteY187" fmla="*/ 1670067 h 3722511"/>
              <a:gd name="connsiteX188" fmla="*/ 7642728 w 12305293"/>
              <a:gd name="connsiteY188" fmla="*/ 1712930 h 3722511"/>
              <a:gd name="connsiteX189" fmla="*/ 7642728 w 12305293"/>
              <a:gd name="connsiteY189" fmla="*/ 1714517 h 3722511"/>
              <a:gd name="connsiteX190" fmla="*/ 7642728 w 12305293"/>
              <a:gd name="connsiteY190" fmla="*/ 1757380 h 3722511"/>
              <a:gd name="connsiteX191" fmla="*/ 7642728 w 12305293"/>
              <a:gd name="connsiteY191" fmla="*/ 1760555 h 3722511"/>
              <a:gd name="connsiteX192" fmla="*/ 7642728 w 12305293"/>
              <a:gd name="connsiteY192" fmla="*/ 1803418 h 3722511"/>
              <a:gd name="connsiteX193" fmla="*/ 7642728 w 12305293"/>
              <a:gd name="connsiteY193" fmla="*/ 1805005 h 3722511"/>
              <a:gd name="connsiteX194" fmla="*/ 7642728 w 12305293"/>
              <a:gd name="connsiteY194" fmla="*/ 1847868 h 3722511"/>
              <a:gd name="connsiteX195" fmla="*/ 7642728 w 12305293"/>
              <a:gd name="connsiteY195" fmla="*/ 1851043 h 3722511"/>
              <a:gd name="connsiteX196" fmla="*/ 7642728 w 12305293"/>
              <a:gd name="connsiteY196" fmla="*/ 1892318 h 3722511"/>
              <a:gd name="connsiteX197" fmla="*/ 7642728 w 12305293"/>
              <a:gd name="connsiteY197" fmla="*/ 1895493 h 3722511"/>
              <a:gd name="connsiteX198" fmla="*/ 7642728 w 12305293"/>
              <a:gd name="connsiteY198" fmla="*/ 1941531 h 3722511"/>
              <a:gd name="connsiteX199" fmla="*/ 7558484 w 12305293"/>
              <a:gd name="connsiteY199" fmla="*/ 1941531 h 3722511"/>
              <a:gd name="connsiteX200" fmla="*/ 7558484 w 12305293"/>
              <a:gd name="connsiteY200" fmla="*/ 1895493 h 3722511"/>
              <a:gd name="connsiteX201" fmla="*/ 7558484 w 12305293"/>
              <a:gd name="connsiteY201" fmla="*/ 1892318 h 3722511"/>
              <a:gd name="connsiteX202" fmla="*/ 7558484 w 12305293"/>
              <a:gd name="connsiteY202" fmla="*/ 1851043 h 3722511"/>
              <a:gd name="connsiteX203" fmla="*/ 7558484 w 12305293"/>
              <a:gd name="connsiteY203" fmla="*/ 1847868 h 3722511"/>
              <a:gd name="connsiteX204" fmla="*/ 7558484 w 12305293"/>
              <a:gd name="connsiteY204" fmla="*/ 1805005 h 3722511"/>
              <a:gd name="connsiteX205" fmla="*/ 7558484 w 12305293"/>
              <a:gd name="connsiteY205" fmla="*/ 1803418 h 3722511"/>
              <a:gd name="connsiteX206" fmla="*/ 7558484 w 12305293"/>
              <a:gd name="connsiteY206" fmla="*/ 1760555 h 3722511"/>
              <a:gd name="connsiteX207" fmla="*/ 7558484 w 12305293"/>
              <a:gd name="connsiteY207" fmla="*/ 1757380 h 3722511"/>
              <a:gd name="connsiteX208" fmla="*/ 7558484 w 12305293"/>
              <a:gd name="connsiteY208" fmla="*/ 1714517 h 3722511"/>
              <a:gd name="connsiteX209" fmla="*/ 7558484 w 12305293"/>
              <a:gd name="connsiteY209" fmla="*/ 1712930 h 3722511"/>
              <a:gd name="connsiteX210" fmla="*/ 7558484 w 12305293"/>
              <a:gd name="connsiteY210" fmla="*/ 1670067 h 3722511"/>
              <a:gd name="connsiteX211" fmla="*/ 7558484 w 12305293"/>
              <a:gd name="connsiteY211" fmla="*/ 1666892 h 3722511"/>
              <a:gd name="connsiteX212" fmla="*/ 7558484 w 12305293"/>
              <a:gd name="connsiteY212" fmla="*/ 1627204 h 3722511"/>
              <a:gd name="connsiteX213" fmla="*/ 7558484 w 12305293"/>
              <a:gd name="connsiteY213" fmla="*/ 1622442 h 3722511"/>
              <a:gd name="connsiteX214" fmla="*/ 7558484 w 12305293"/>
              <a:gd name="connsiteY214" fmla="*/ 1581166 h 3722511"/>
              <a:gd name="connsiteX215" fmla="*/ 7558484 w 12305293"/>
              <a:gd name="connsiteY215" fmla="*/ 1579579 h 3722511"/>
              <a:gd name="connsiteX216" fmla="*/ 1989231 w 12305293"/>
              <a:gd name="connsiteY216" fmla="*/ 1441086 h 3722511"/>
              <a:gd name="connsiteX217" fmla="*/ 1988695 w 12305293"/>
              <a:gd name="connsiteY217" fmla="*/ 1452607 h 3722511"/>
              <a:gd name="connsiteX218" fmla="*/ 1988961 w 12305293"/>
              <a:gd name="connsiteY218" fmla="*/ 1446877 h 3722511"/>
              <a:gd name="connsiteX219" fmla="*/ 1990194 w 12305293"/>
              <a:gd name="connsiteY219" fmla="*/ 1420396 h 3722511"/>
              <a:gd name="connsiteX220" fmla="*/ 1989661 w 12305293"/>
              <a:gd name="connsiteY220" fmla="*/ 1431892 h 3722511"/>
              <a:gd name="connsiteX221" fmla="*/ 1989231 w 12305293"/>
              <a:gd name="connsiteY221" fmla="*/ 1441086 h 3722511"/>
              <a:gd name="connsiteX222" fmla="*/ 6080978 w 12305293"/>
              <a:gd name="connsiteY222" fmla="*/ 1368460 h 3722511"/>
              <a:gd name="connsiteX223" fmla="*/ 6121479 w 12305293"/>
              <a:gd name="connsiteY223" fmla="*/ 1368460 h 3722511"/>
              <a:gd name="connsiteX224" fmla="*/ 6121479 w 12305293"/>
              <a:gd name="connsiteY224" fmla="*/ 1812965 h 3722511"/>
              <a:gd name="connsiteX225" fmla="*/ 6080978 w 12305293"/>
              <a:gd name="connsiteY225" fmla="*/ 1812965 h 3722511"/>
              <a:gd name="connsiteX226" fmla="*/ 469822 w 12305293"/>
              <a:gd name="connsiteY226" fmla="*/ 1366890 h 3722511"/>
              <a:gd name="connsiteX227" fmla="*/ 539484 w 12305293"/>
              <a:gd name="connsiteY227" fmla="*/ 1366890 h 3722511"/>
              <a:gd name="connsiteX228" fmla="*/ 539484 w 12305293"/>
              <a:gd name="connsiteY228" fmla="*/ 1369942 h 3722511"/>
              <a:gd name="connsiteX229" fmla="*/ 469822 w 12305293"/>
              <a:gd name="connsiteY229" fmla="*/ 1369942 h 3722511"/>
              <a:gd name="connsiteX230" fmla="*/ 469822 w 12305293"/>
              <a:gd name="connsiteY230" fmla="*/ 1366890 h 3722511"/>
              <a:gd name="connsiteX231" fmla="*/ 1993028 w 12305293"/>
              <a:gd name="connsiteY231" fmla="*/ 1359587 h 3722511"/>
              <a:gd name="connsiteX232" fmla="*/ 1991020 w 12305293"/>
              <a:gd name="connsiteY232" fmla="*/ 1402711 h 3722511"/>
              <a:gd name="connsiteX233" fmla="*/ 1990194 w 12305293"/>
              <a:gd name="connsiteY233" fmla="*/ 1420396 h 3722511"/>
              <a:gd name="connsiteX234" fmla="*/ 10238104 w 12305293"/>
              <a:gd name="connsiteY234" fmla="*/ 1343060 h 3722511"/>
              <a:gd name="connsiteX235" fmla="*/ 10279980 w 12305293"/>
              <a:gd name="connsiteY235" fmla="*/ 1343060 h 3722511"/>
              <a:gd name="connsiteX236" fmla="*/ 10330452 w 12305293"/>
              <a:gd name="connsiteY236" fmla="*/ 1343060 h 3722511"/>
              <a:gd name="connsiteX237" fmla="*/ 10482908 w 12305293"/>
              <a:gd name="connsiteY237" fmla="*/ 1343060 h 3722511"/>
              <a:gd name="connsiteX238" fmla="*/ 10492457 w 12305293"/>
              <a:gd name="connsiteY238" fmla="*/ 1343060 h 3722511"/>
              <a:gd name="connsiteX239" fmla="*/ 10503127 w 12305293"/>
              <a:gd name="connsiteY239" fmla="*/ 1343060 h 3722511"/>
              <a:gd name="connsiteX240" fmla="*/ 10517881 w 12305293"/>
              <a:gd name="connsiteY240" fmla="*/ 1343060 h 3722511"/>
              <a:gd name="connsiteX241" fmla="*/ 10707928 w 12305293"/>
              <a:gd name="connsiteY241" fmla="*/ 1343060 h 3722511"/>
              <a:gd name="connsiteX242" fmla="*/ 10685970 w 12305293"/>
              <a:gd name="connsiteY242" fmla="*/ 2282834 h 3722511"/>
              <a:gd name="connsiteX243" fmla="*/ 10717657 w 12305293"/>
              <a:gd name="connsiteY243" fmla="*/ 2282834 h 3722511"/>
              <a:gd name="connsiteX244" fmla="*/ 10750058 w 12305293"/>
              <a:gd name="connsiteY244" fmla="*/ 2282834 h 3722511"/>
              <a:gd name="connsiteX245" fmla="*/ 10750058 w 12305293"/>
              <a:gd name="connsiteY245" fmla="*/ 3722511 h 3722511"/>
              <a:gd name="connsiteX246" fmla="*/ 10027880 w 12305293"/>
              <a:gd name="connsiteY246" fmla="*/ 3722511 h 3722511"/>
              <a:gd name="connsiteX247" fmla="*/ 10027880 w 12305293"/>
              <a:gd name="connsiteY247" fmla="*/ 3718205 h 3722511"/>
              <a:gd name="connsiteX248" fmla="*/ 10027880 w 12305293"/>
              <a:gd name="connsiteY248" fmla="*/ 3680554 h 3722511"/>
              <a:gd name="connsiteX249" fmla="*/ 10027880 w 12305293"/>
              <a:gd name="connsiteY249" fmla="*/ 3660473 h 3722511"/>
              <a:gd name="connsiteX250" fmla="*/ 10027880 w 12305293"/>
              <a:gd name="connsiteY250" fmla="*/ 3622822 h 3722511"/>
              <a:gd name="connsiteX251" fmla="*/ 10027880 w 12305293"/>
              <a:gd name="connsiteY251" fmla="*/ 3602741 h 3722511"/>
              <a:gd name="connsiteX252" fmla="*/ 10027880 w 12305293"/>
              <a:gd name="connsiteY252" fmla="*/ 3565090 h 3722511"/>
              <a:gd name="connsiteX253" fmla="*/ 10027880 w 12305293"/>
              <a:gd name="connsiteY253" fmla="*/ 3545009 h 3722511"/>
              <a:gd name="connsiteX254" fmla="*/ 10027880 w 12305293"/>
              <a:gd name="connsiteY254" fmla="*/ 3507358 h 3722511"/>
              <a:gd name="connsiteX255" fmla="*/ 10027880 w 12305293"/>
              <a:gd name="connsiteY255" fmla="*/ 3487277 h 3722511"/>
              <a:gd name="connsiteX256" fmla="*/ 10027880 w 12305293"/>
              <a:gd name="connsiteY256" fmla="*/ 3449626 h 3722511"/>
              <a:gd name="connsiteX257" fmla="*/ 10027880 w 12305293"/>
              <a:gd name="connsiteY257" fmla="*/ 3429545 h 3722511"/>
              <a:gd name="connsiteX258" fmla="*/ 10027880 w 12305293"/>
              <a:gd name="connsiteY258" fmla="*/ 3391894 h 3722511"/>
              <a:gd name="connsiteX259" fmla="*/ 10027880 w 12305293"/>
              <a:gd name="connsiteY259" fmla="*/ 3371813 h 3722511"/>
              <a:gd name="connsiteX260" fmla="*/ 10027880 w 12305293"/>
              <a:gd name="connsiteY260" fmla="*/ 3334162 h 3722511"/>
              <a:gd name="connsiteX261" fmla="*/ 10027880 w 12305293"/>
              <a:gd name="connsiteY261" fmla="*/ 3314081 h 3722511"/>
              <a:gd name="connsiteX262" fmla="*/ 10027880 w 12305293"/>
              <a:gd name="connsiteY262" fmla="*/ 3276430 h 3722511"/>
              <a:gd name="connsiteX263" fmla="*/ 10027880 w 12305293"/>
              <a:gd name="connsiteY263" fmla="*/ 3256349 h 3722511"/>
              <a:gd name="connsiteX264" fmla="*/ 10027880 w 12305293"/>
              <a:gd name="connsiteY264" fmla="*/ 3218698 h 3722511"/>
              <a:gd name="connsiteX265" fmla="*/ 10027880 w 12305293"/>
              <a:gd name="connsiteY265" fmla="*/ 3198617 h 3722511"/>
              <a:gd name="connsiteX266" fmla="*/ 10027880 w 12305293"/>
              <a:gd name="connsiteY266" fmla="*/ 3160966 h 3722511"/>
              <a:gd name="connsiteX267" fmla="*/ 10027880 w 12305293"/>
              <a:gd name="connsiteY267" fmla="*/ 3140885 h 3722511"/>
              <a:gd name="connsiteX268" fmla="*/ 10027880 w 12305293"/>
              <a:gd name="connsiteY268" fmla="*/ 3103234 h 3722511"/>
              <a:gd name="connsiteX269" fmla="*/ 10027880 w 12305293"/>
              <a:gd name="connsiteY269" fmla="*/ 3083153 h 3722511"/>
              <a:gd name="connsiteX270" fmla="*/ 10027880 w 12305293"/>
              <a:gd name="connsiteY270" fmla="*/ 3048012 h 3722511"/>
              <a:gd name="connsiteX271" fmla="*/ 10027880 w 12305293"/>
              <a:gd name="connsiteY271" fmla="*/ 3025421 h 3722511"/>
              <a:gd name="connsiteX272" fmla="*/ 10027880 w 12305293"/>
              <a:gd name="connsiteY272" fmla="*/ 2990280 h 3722511"/>
              <a:gd name="connsiteX273" fmla="*/ 10027880 w 12305293"/>
              <a:gd name="connsiteY273" fmla="*/ 2967689 h 3722511"/>
              <a:gd name="connsiteX274" fmla="*/ 10027880 w 12305293"/>
              <a:gd name="connsiteY274" fmla="*/ 2932548 h 3722511"/>
              <a:gd name="connsiteX275" fmla="*/ 10027880 w 12305293"/>
              <a:gd name="connsiteY275" fmla="*/ 2909957 h 3722511"/>
              <a:gd name="connsiteX276" fmla="*/ 10027880 w 12305293"/>
              <a:gd name="connsiteY276" fmla="*/ 2874816 h 3722511"/>
              <a:gd name="connsiteX277" fmla="*/ 10027880 w 12305293"/>
              <a:gd name="connsiteY277" fmla="*/ 2854735 h 3722511"/>
              <a:gd name="connsiteX278" fmla="*/ 10027880 w 12305293"/>
              <a:gd name="connsiteY278" fmla="*/ 2817084 h 3722511"/>
              <a:gd name="connsiteX279" fmla="*/ 10027880 w 12305293"/>
              <a:gd name="connsiteY279" fmla="*/ 2797003 h 3722511"/>
              <a:gd name="connsiteX280" fmla="*/ 10027880 w 12305293"/>
              <a:gd name="connsiteY280" fmla="*/ 2759352 h 3722511"/>
              <a:gd name="connsiteX281" fmla="*/ 10027880 w 12305293"/>
              <a:gd name="connsiteY281" fmla="*/ 2739271 h 3722511"/>
              <a:gd name="connsiteX282" fmla="*/ 10027880 w 12305293"/>
              <a:gd name="connsiteY282" fmla="*/ 2701620 h 3722511"/>
              <a:gd name="connsiteX283" fmla="*/ 10027880 w 12305293"/>
              <a:gd name="connsiteY283" fmla="*/ 2681539 h 3722511"/>
              <a:gd name="connsiteX284" fmla="*/ 10027880 w 12305293"/>
              <a:gd name="connsiteY284" fmla="*/ 2643888 h 3722511"/>
              <a:gd name="connsiteX285" fmla="*/ 10027880 w 12305293"/>
              <a:gd name="connsiteY285" fmla="*/ 2623807 h 3722511"/>
              <a:gd name="connsiteX286" fmla="*/ 10027880 w 12305293"/>
              <a:gd name="connsiteY286" fmla="*/ 2586156 h 3722511"/>
              <a:gd name="connsiteX287" fmla="*/ 10027880 w 12305293"/>
              <a:gd name="connsiteY287" fmla="*/ 2578626 h 3722511"/>
              <a:gd name="connsiteX288" fmla="*/ 10035566 w 12305293"/>
              <a:gd name="connsiteY288" fmla="*/ 2578626 h 3722511"/>
              <a:gd name="connsiteX289" fmla="*/ 10035566 w 12305293"/>
              <a:gd name="connsiteY289" fmla="*/ 2350208 h 3722511"/>
              <a:gd name="connsiteX290" fmla="*/ 10094486 w 12305293"/>
              <a:gd name="connsiteY290" fmla="*/ 2382839 h 3722511"/>
              <a:gd name="connsiteX291" fmla="*/ 10140597 w 12305293"/>
              <a:gd name="connsiteY291" fmla="*/ 3012871 h 3722511"/>
              <a:gd name="connsiteX292" fmla="*/ 10159206 w 12305293"/>
              <a:gd name="connsiteY292" fmla="*/ 3253555 h 3722511"/>
              <a:gd name="connsiteX293" fmla="*/ 10165424 w 12305293"/>
              <a:gd name="connsiteY293" fmla="*/ 3332163 h 3722511"/>
              <a:gd name="connsiteX294" fmla="*/ 10166626 w 12305293"/>
              <a:gd name="connsiteY294" fmla="*/ 3332163 h 3722511"/>
              <a:gd name="connsiteX295" fmla="*/ 10157514 w 12305293"/>
              <a:gd name="connsiteY295" fmla="*/ 3217332 h 3722511"/>
              <a:gd name="connsiteX296" fmla="*/ 10141602 w 12305293"/>
              <a:gd name="connsiteY296" fmla="*/ 3012633 h 3722511"/>
              <a:gd name="connsiteX297" fmla="*/ 10033975 w 12305293"/>
              <a:gd name="connsiteY297" fmla="*/ 1355613 h 3722511"/>
              <a:gd name="connsiteX298" fmla="*/ 10198779 w 12305293"/>
              <a:gd name="connsiteY298" fmla="*/ 1347203 h 3722511"/>
              <a:gd name="connsiteX299" fmla="*/ 10238237 w 12305293"/>
              <a:gd name="connsiteY299" fmla="*/ 1345190 h 3722511"/>
              <a:gd name="connsiteX300" fmla="*/ 1994366 w 12305293"/>
              <a:gd name="connsiteY300" fmla="*/ 1330892 h 3722511"/>
              <a:gd name="connsiteX301" fmla="*/ 1993028 w 12305293"/>
              <a:gd name="connsiteY301" fmla="*/ 1359587 h 3722511"/>
              <a:gd name="connsiteX302" fmla="*/ 1993260 w 12305293"/>
              <a:gd name="connsiteY302" fmla="*/ 1354601 h 3722511"/>
              <a:gd name="connsiteX303" fmla="*/ 1995072 w 12305293"/>
              <a:gd name="connsiteY303" fmla="*/ 1315726 h 3722511"/>
              <a:gd name="connsiteX304" fmla="*/ 1994366 w 12305293"/>
              <a:gd name="connsiteY304" fmla="*/ 1330892 h 3722511"/>
              <a:gd name="connsiteX305" fmla="*/ 1994877 w 12305293"/>
              <a:gd name="connsiteY305" fmla="*/ 1319899 h 3722511"/>
              <a:gd name="connsiteX306" fmla="*/ 7742458 w 12305293"/>
              <a:gd name="connsiteY306" fmla="*/ 1257859 h 3722511"/>
              <a:gd name="connsiteX307" fmla="*/ 7742458 w 12305293"/>
              <a:gd name="connsiteY307" fmla="*/ 1280490 h 3722511"/>
              <a:gd name="connsiteX308" fmla="*/ 7803830 w 12305293"/>
              <a:gd name="connsiteY308" fmla="*/ 1280490 h 3722511"/>
              <a:gd name="connsiteX309" fmla="*/ 7803830 w 12305293"/>
              <a:gd name="connsiteY309" fmla="*/ 1257859 h 3722511"/>
              <a:gd name="connsiteX310" fmla="*/ 7742458 w 12305293"/>
              <a:gd name="connsiteY310" fmla="*/ 1257859 h 3722511"/>
              <a:gd name="connsiteX311" fmla="*/ 2001078 w 12305293"/>
              <a:gd name="connsiteY311" fmla="*/ 1186842 h 3722511"/>
              <a:gd name="connsiteX312" fmla="*/ 1996607 w 12305293"/>
              <a:gd name="connsiteY312" fmla="*/ 1282831 h 3722511"/>
              <a:gd name="connsiteX313" fmla="*/ 1995072 w 12305293"/>
              <a:gd name="connsiteY313" fmla="*/ 1315726 h 3722511"/>
              <a:gd name="connsiteX314" fmla="*/ 1999545 w 12305293"/>
              <a:gd name="connsiteY314" fmla="*/ 1219737 h 3722511"/>
              <a:gd name="connsiteX315" fmla="*/ 2001785 w 12305293"/>
              <a:gd name="connsiteY315" fmla="*/ 1171676 h 3722511"/>
              <a:gd name="connsiteX316" fmla="*/ 2001078 w 12305293"/>
              <a:gd name="connsiteY316" fmla="*/ 1186842 h 3722511"/>
              <a:gd name="connsiteX317" fmla="*/ 2001271 w 12305293"/>
              <a:gd name="connsiteY317" fmla="*/ 1182669 h 3722511"/>
              <a:gd name="connsiteX318" fmla="*/ 2003121 w 12305293"/>
              <a:gd name="connsiteY318" fmla="*/ 1142981 h 3722511"/>
              <a:gd name="connsiteX319" fmla="*/ 2002889 w 12305293"/>
              <a:gd name="connsiteY319" fmla="*/ 1147967 h 3722511"/>
              <a:gd name="connsiteX320" fmla="*/ 2001785 w 12305293"/>
              <a:gd name="connsiteY320" fmla="*/ 1171676 h 3722511"/>
              <a:gd name="connsiteX321" fmla="*/ 262344 w 12305293"/>
              <a:gd name="connsiteY321" fmla="*/ 1113683 h 3722511"/>
              <a:gd name="connsiteX322" fmla="*/ 261655 w 12305293"/>
              <a:gd name="connsiteY322" fmla="*/ 1116779 h 3722511"/>
              <a:gd name="connsiteX323" fmla="*/ 261674 w 12305293"/>
              <a:gd name="connsiteY323" fmla="*/ 1116690 h 3722511"/>
              <a:gd name="connsiteX324" fmla="*/ 267151 w 12305293"/>
              <a:gd name="connsiteY324" fmla="*/ 1092123 h 3722511"/>
              <a:gd name="connsiteX325" fmla="*/ 262344 w 12305293"/>
              <a:gd name="connsiteY325" fmla="*/ 1113683 h 3722511"/>
              <a:gd name="connsiteX326" fmla="*/ 263380 w 12305293"/>
              <a:gd name="connsiteY326" fmla="*/ 1109036 h 3722511"/>
              <a:gd name="connsiteX327" fmla="*/ 270308 w 12305293"/>
              <a:gd name="connsiteY327" fmla="*/ 1077963 h 3722511"/>
              <a:gd name="connsiteX328" fmla="*/ 268012 w 12305293"/>
              <a:gd name="connsiteY328" fmla="*/ 1088260 h 3722511"/>
              <a:gd name="connsiteX329" fmla="*/ 267151 w 12305293"/>
              <a:gd name="connsiteY329" fmla="*/ 1092123 h 3722511"/>
              <a:gd name="connsiteX330" fmla="*/ 272169 w 12305293"/>
              <a:gd name="connsiteY330" fmla="*/ 1069613 h 3722511"/>
              <a:gd name="connsiteX331" fmla="*/ 270308 w 12305293"/>
              <a:gd name="connsiteY331" fmla="*/ 1077963 h 3722511"/>
              <a:gd name="connsiteX332" fmla="*/ 270449 w 12305293"/>
              <a:gd name="connsiteY332" fmla="*/ 1077325 h 3722511"/>
              <a:gd name="connsiteX333" fmla="*/ 276117 w 12305293"/>
              <a:gd name="connsiteY333" fmla="*/ 1051901 h 3722511"/>
              <a:gd name="connsiteX334" fmla="*/ 272169 w 12305293"/>
              <a:gd name="connsiteY334" fmla="*/ 1069613 h 3722511"/>
              <a:gd name="connsiteX335" fmla="*/ 275081 w 12305293"/>
              <a:gd name="connsiteY335" fmla="*/ 1056549 h 3722511"/>
              <a:gd name="connsiteX336" fmla="*/ 277031 w 12305293"/>
              <a:gd name="connsiteY336" fmla="*/ 1047801 h 3722511"/>
              <a:gd name="connsiteX337" fmla="*/ 276117 w 12305293"/>
              <a:gd name="connsiteY337" fmla="*/ 1051901 h 3722511"/>
              <a:gd name="connsiteX338" fmla="*/ 276787 w 12305293"/>
              <a:gd name="connsiteY338" fmla="*/ 1048894 h 3722511"/>
              <a:gd name="connsiteX339" fmla="*/ 277031 w 12305293"/>
              <a:gd name="connsiteY339" fmla="*/ 1047801 h 3722511"/>
              <a:gd name="connsiteX340" fmla="*/ 4155691 w 12305293"/>
              <a:gd name="connsiteY340" fmla="*/ 1041533 h 3722511"/>
              <a:gd name="connsiteX341" fmla="*/ 4025446 w 12305293"/>
              <a:gd name="connsiteY341" fmla="*/ 1226214 h 3722511"/>
              <a:gd name="connsiteX342" fmla="*/ 4022567 w 12305293"/>
              <a:gd name="connsiteY342" fmla="*/ 1230359 h 3722511"/>
              <a:gd name="connsiteX343" fmla="*/ 4178028 w 12305293"/>
              <a:gd name="connsiteY343" fmla="*/ 1230359 h 3722511"/>
              <a:gd name="connsiteX344" fmla="*/ 4178028 w 12305293"/>
              <a:gd name="connsiteY344" fmla="*/ 1227498 h 3722511"/>
              <a:gd name="connsiteX345" fmla="*/ 4178028 w 12305293"/>
              <a:gd name="connsiteY345" fmla="*/ 1103769 h 3722511"/>
              <a:gd name="connsiteX346" fmla="*/ 4178028 w 12305293"/>
              <a:gd name="connsiteY346" fmla="*/ 1041533 h 3722511"/>
              <a:gd name="connsiteX347" fmla="*/ 4200732 w 12305293"/>
              <a:gd name="connsiteY347" fmla="*/ 1041446 h 3722511"/>
              <a:gd name="connsiteX348" fmla="*/ 4200732 w 12305293"/>
              <a:gd name="connsiteY348" fmla="*/ 1074529 h 3722511"/>
              <a:gd name="connsiteX349" fmla="*/ 4200732 w 12305293"/>
              <a:gd name="connsiteY349" fmla="*/ 1227947 h 3722511"/>
              <a:gd name="connsiteX350" fmla="*/ 4200732 w 12305293"/>
              <a:gd name="connsiteY350" fmla="*/ 1230359 h 3722511"/>
              <a:gd name="connsiteX351" fmla="*/ 4356259 w 12305293"/>
              <a:gd name="connsiteY351" fmla="*/ 1230359 h 3722511"/>
              <a:gd name="connsiteX352" fmla="*/ 4223030 w 12305293"/>
              <a:gd name="connsiteY352" fmla="*/ 1041446 h 3722511"/>
              <a:gd name="connsiteX353" fmla="*/ 279512 w 12305293"/>
              <a:gd name="connsiteY353" fmla="*/ 1038124 h 3722511"/>
              <a:gd name="connsiteX354" fmla="*/ 277037 w 12305293"/>
              <a:gd name="connsiteY354" fmla="*/ 1047770 h 3722511"/>
              <a:gd name="connsiteX355" fmla="*/ 278206 w 12305293"/>
              <a:gd name="connsiteY355" fmla="*/ 1043211 h 3722511"/>
              <a:gd name="connsiteX356" fmla="*/ 283918 w 12305293"/>
              <a:gd name="connsiteY356" fmla="*/ 1020948 h 3722511"/>
              <a:gd name="connsiteX357" fmla="*/ 280984 w 12305293"/>
              <a:gd name="connsiteY357" fmla="*/ 1032385 h 3722511"/>
              <a:gd name="connsiteX358" fmla="*/ 279512 w 12305293"/>
              <a:gd name="connsiteY358" fmla="*/ 1038124 h 3722511"/>
              <a:gd name="connsiteX359" fmla="*/ 282446 w 12305293"/>
              <a:gd name="connsiteY359" fmla="*/ 1026687 h 3722511"/>
              <a:gd name="connsiteX360" fmla="*/ 286393 w 12305293"/>
              <a:gd name="connsiteY360" fmla="*/ 1011302 h 3722511"/>
              <a:gd name="connsiteX361" fmla="*/ 283918 w 12305293"/>
              <a:gd name="connsiteY361" fmla="*/ 1020948 h 3722511"/>
              <a:gd name="connsiteX362" fmla="*/ 285224 w 12305293"/>
              <a:gd name="connsiteY362" fmla="*/ 1015860 h 3722511"/>
              <a:gd name="connsiteX363" fmla="*/ 286393 w 12305293"/>
              <a:gd name="connsiteY363" fmla="*/ 1011302 h 3722511"/>
              <a:gd name="connsiteX364" fmla="*/ 330494 w 12305293"/>
              <a:gd name="connsiteY364" fmla="*/ 611237 h 3722511"/>
              <a:gd name="connsiteX365" fmla="*/ 330494 w 12305293"/>
              <a:gd name="connsiteY365" fmla="*/ 611238 h 3722511"/>
              <a:gd name="connsiteX366" fmla="*/ 330494 w 12305293"/>
              <a:gd name="connsiteY366" fmla="*/ 611436 h 3722511"/>
              <a:gd name="connsiteX367" fmla="*/ 330499 w 12305293"/>
              <a:gd name="connsiteY367" fmla="*/ 611352 h 3722511"/>
              <a:gd name="connsiteX368" fmla="*/ 330499 w 12305293"/>
              <a:gd name="connsiteY368" fmla="*/ 611249 h 3722511"/>
              <a:gd name="connsiteX369" fmla="*/ 330499 w 12305293"/>
              <a:gd name="connsiteY369" fmla="*/ 611248 h 3722511"/>
              <a:gd name="connsiteX370" fmla="*/ 330502 w 12305293"/>
              <a:gd name="connsiteY370" fmla="*/ 611300 h 3722511"/>
              <a:gd name="connsiteX371" fmla="*/ 330505 w 12305293"/>
              <a:gd name="connsiteY371" fmla="*/ 611248 h 3722511"/>
              <a:gd name="connsiteX372" fmla="*/ 352084 w 12305293"/>
              <a:gd name="connsiteY372" fmla="*/ 976364 h 3722511"/>
              <a:gd name="connsiteX373" fmla="*/ 376781 w 12305293"/>
              <a:gd name="connsiteY373" fmla="*/ 976364 h 3722511"/>
              <a:gd name="connsiteX374" fmla="*/ 389509 w 12305293"/>
              <a:gd name="connsiteY374" fmla="*/ 980730 h 3722511"/>
              <a:gd name="connsiteX375" fmla="*/ 389514 w 12305293"/>
              <a:gd name="connsiteY375" fmla="*/ 980739 h 3722511"/>
              <a:gd name="connsiteX376" fmla="*/ 389523 w 12305293"/>
              <a:gd name="connsiteY376" fmla="*/ 980742 h 3722511"/>
              <a:gd name="connsiteX377" fmla="*/ 395301 w 12305293"/>
              <a:gd name="connsiteY377" fmla="*/ 992251 h 3722511"/>
              <a:gd name="connsiteX378" fmla="*/ 376809 w 12305293"/>
              <a:gd name="connsiteY378" fmla="*/ 1011301 h 3722511"/>
              <a:gd name="connsiteX379" fmla="*/ 375056 w 12305293"/>
              <a:gd name="connsiteY379" fmla="*/ 1011301 h 3722511"/>
              <a:gd name="connsiteX380" fmla="*/ 401934 w 12305293"/>
              <a:gd name="connsiteY380" fmla="*/ 1116657 h 3722511"/>
              <a:gd name="connsiteX381" fmla="*/ 405245 w 12305293"/>
              <a:gd name="connsiteY381" fmla="*/ 1118808 h 3722511"/>
              <a:gd name="connsiteX382" fmla="*/ 435807 w 12305293"/>
              <a:gd name="connsiteY382" fmla="*/ 1189675 h 3722511"/>
              <a:gd name="connsiteX383" fmla="*/ 435807 w 12305293"/>
              <a:gd name="connsiteY383" fmla="*/ 1196152 h 3722511"/>
              <a:gd name="connsiteX384" fmla="*/ 435807 w 12305293"/>
              <a:gd name="connsiteY384" fmla="*/ 1206451 h 3722511"/>
              <a:gd name="connsiteX385" fmla="*/ 442661 w 12305293"/>
              <a:gd name="connsiteY385" fmla="*/ 1216485 h 3722511"/>
              <a:gd name="connsiteX386" fmla="*/ 452008 w 12305293"/>
              <a:gd name="connsiteY386" fmla="*/ 1263232 h 3722511"/>
              <a:gd name="connsiteX387" fmla="*/ 452008 w 12305293"/>
              <a:gd name="connsiteY387" fmla="*/ 1270833 h 3722511"/>
              <a:gd name="connsiteX388" fmla="*/ 452008 w 12305293"/>
              <a:gd name="connsiteY388" fmla="*/ 1283145 h 3722511"/>
              <a:gd name="connsiteX389" fmla="*/ 456130 w 12305293"/>
              <a:gd name="connsiteY389" fmla="*/ 1289231 h 3722511"/>
              <a:gd name="connsiteX390" fmla="*/ 466582 w 12305293"/>
              <a:gd name="connsiteY390" fmla="*/ 1342376 h 3722511"/>
              <a:gd name="connsiteX391" fmla="*/ 466582 w 12305293"/>
              <a:gd name="connsiteY391" fmla="*/ 1342612 h 3722511"/>
              <a:gd name="connsiteX392" fmla="*/ 466587 w 12305293"/>
              <a:gd name="connsiteY392" fmla="*/ 1342642 h 3722511"/>
              <a:gd name="connsiteX393" fmla="*/ 466587 w 12305293"/>
              <a:gd name="connsiteY393" fmla="*/ 1351430 h 3722511"/>
              <a:gd name="connsiteX394" fmla="*/ 466587 w 12305293"/>
              <a:gd name="connsiteY394" fmla="*/ 1363960 h 3722511"/>
              <a:gd name="connsiteX395" fmla="*/ 469767 w 12305293"/>
              <a:gd name="connsiteY395" fmla="*/ 1370080 h 3722511"/>
              <a:gd name="connsiteX396" fmla="*/ 469822 w 12305293"/>
              <a:gd name="connsiteY396" fmla="*/ 1370080 h 3722511"/>
              <a:gd name="connsiteX397" fmla="*/ 469825 w 12305293"/>
              <a:gd name="connsiteY397" fmla="*/ 1370080 h 3722511"/>
              <a:gd name="connsiteX398" fmla="*/ 469822 w 12305293"/>
              <a:gd name="connsiteY398" fmla="*/ 1370065 h 3722511"/>
              <a:gd name="connsiteX399" fmla="*/ 539484 w 12305293"/>
              <a:gd name="connsiteY399" fmla="*/ 1370065 h 3722511"/>
              <a:gd name="connsiteX400" fmla="*/ 539484 w 12305293"/>
              <a:gd name="connsiteY400" fmla="*/ 1370080 h 3722511"/>
              <a:gd name="connsiteX401" fmla="*/ 539486 w 12305293"/>
              <a:gd name="connsiteY401" fmla="*/ 1370080 h 3722511"/>
              <a:gd name="connsiteX402" fmla="*/ 539486 w 12305293"/>
              <a:gd name="connsiteY402" fmla="*/ 1681233 h 3722511"/>
              <a:gd name="connsiteX403" fmla="*/ 588084 w 12305293"/>
              <a:gd name="connsiteY403" fmla="*/ 1681233 h 3722511"/>
              <a:gd name="connsiteX404" fmla="*/ 588085 w 12305293"/>
              <a:gd name="connsiteY404" fmla="*/ 1681233 h 3722511"/>
              <a:gd name="connsiteX405" fmla="*/ 588091 w 12305293"/>
              <a:gd name="connsiteY405" fmla="*/ 1681233 h 3722511"/>
              <a:gd name="connsiteX406" fmla="*/ 588091 w 12305293"/>
              <a:gd name="connsiteY406" fmla="*/ 3602100 h 3722511"/>
              <a:gd name="connsiteX407" fmla="*/ 662607 w 12305293"/>
              <a:gd name="connsiteY407" fmla="*/ 3602100 h 3722511"/>
              <a:gd name="connsiteX408" fmla="*/ 662607 w 12305293"/>
              <a:gd name="connsiteY408" fmla="*/ 3602126 h 3722511"/>
              <a:gd name="connsiteX409" fmla="*/ 662610 w 12305293"/>
              <a:gd name="connsiteY409" fmla="*/ 3602126 h 3722511"/>
              <a:gd name="connsiteX410" fmla="*/ 662610 w 12305293"/>
              <a:gd name="connsiteY410" fmla="*/ 3722511 h 3722511"/>
              <a:gd name="connsiteX411" fmla="*/ 0 w 12305293"/>
              <a:gd name="connsiteY411" fmla="*/ 3722511 h 3722511"/>
              <a:gd name="connsiteX412" fmla="*/ 0 w 12305293"/>
              <a:gd name="connsiteY412" fmla="*/ 3602100 h 3722511"/>
              <a:gd name="connsiteX413" fmla="*/ 1 w 12305293"/>
              <a:gd name="connsiteY413" fmla="*/ 3602100 h 3722511"/>
              <a:gd name="connsiteX414" fmla="*/ 76146 w 12305293"/>
              <a:gd name="connsiteY414" fmla="*/ 3602100 h 3722511"/>
              <a:gd name="connsiteX415" fmla="*/ 76146 w 12305293"/>
              <a:gd name="connsiteY415" fmla="*/ 3552888 h 3722511"/>
              <a:gd name="connsiteX416" fmla="*/ 76142 w 12305293"/>
              <a:gd name="connsiteY416" fmla="*/ 3552888 h 3722511"/>
              <a:gd name="connsiteX417" fmla="*/ 76142 w 12305293"/>
              <a:gd name="connsiteY417" fmla="*/ 3508438 h 3722511"/>
              <a:gd name="connsiteX418" fmla="*/ 76146 w 12305293"/>
              <a:gd name="connsiteY418" fmla="*/ 3508438 h 3722511"/>
              <a:gd name="connsiteX419" fmla="*/ 76146 w 12305293"/>
              <a:gd name="connsiteY419" fmla="*/ 3443350 h 3722511"/>
              <a:gd name="connsiteX420" fmla="*/ 76142 w 12305293"/>
              <a:gd name="connsiteY420" fmla="*/ 3443350 h 3722511"/>
              <a:gd name="connsiteX421" fmla="*/ 76142 w 12305293"/>
              <a:gd name="connsiteY421" fmla="*/ 3397312 h 3722511"/>
              <a:gd name="connsiteX422" fmla="*/ 76146 w 12305293"/>
              <a:gd name="connsiteY422" fmla="*/ 3397312 h 3722511"/>
              <a:gd name="connsiteX423" fmla="*/ 76146 w 12305293"/>
              <a:gd name="connsiteY423" fmla="*/ 3333812 h 3722511"/>
              <a:gd name="connsiteX424" fmla="*/ 76144 w 12305293"/>
              <a:gd name="connsiteY424" fmla="*/ 3333812 h 3722511"/>
              <a:gd name="connsiteX425" fmla="*/ 76144 w 12305293"/>
              <a:gd name="connsiteY425" fmla="*/ 3284599 h 3722511"/>
              <a:gd name="connsiteX426" fmla="*/ 76146 w 12305293"/>
              <a:gd name="connsiteY426" fmla="*/ 3284599 h 3722511"/>
              <a:gd name="connsiteX427" fmla="*/ 76146 w 12305293"/>
              <a:gd name="connsiteY427" fmla="*/ 3221099 h 3722511"/>
              <a:gd name="connsiteX428" fmla="*/ 76144 w 12305293"/>
              <a:gd name="connsiteY428" fmla="*/ 3221099 h 3722511"/>
              <a:gd name="connsiteX429" fmla="*/ 76144 w 12305293"/>
              <a:gd name="connsiteY429" fmla="*/ 3175061 h 3722511"/>
              <a:gd name="connsiteX430" fmla="*/ 76146 w 12305293"/>
              <a:gd name="connsiteY430" fmla="*/ 3175061 h 3722511"/>
              <a:gd name="connsiteX431" fmla="*/ 76146 w 12305293"/>
              <a:gd name="connsiteY431" fmla="*/ 3111561 h 3722511"/>
              <a:gd name="connsiteX432" fmla="*/ 76144 w 12305293"/>
              <a:gd name="connsiteY432" fmla="*/ 3111561 h 3722511"/>
              <a:gd name="connsiteX433" fmla="*/ 76144 w 12305293"/>
              <a:gd name="connsiteY433" fmla="*/ 3065523 h 3722511"/>
              <a:gd name="connsiteX434" fmla="*/ 76146 w 12305293"/>
              <a:gd name="connsiteY434" fmla="*/ 3065523 h 3722511"/>
              <a:gd name="connsiteX435" fmla="*/ 76146 w 12305293"/>
              <a:gd name="connsiteY435" fmla="*/ 3002023 h 3722511"/>
              <a:gd name="connsiteX436" fmla="*/ 76144 w 12305293"/>
              <a:gd name="connsiteY436" fmla="*/ 3002023 h 3722511"/>
              <a:gd name="connsiteX437" fmla="*/ 76144 w 12305293"/>
              <a:gd name="connsiteY437" fmla="*/ 2955985 h 3722511"/>
              <a:gd name="connsiteX438" fmla="*/ 76146 w 12305293"/>
              <a:gd name="connsiteY438" fmla="*/ 2955985 h 3722511"/>
              <a:gd name="connsiteX439" fmla="*/ 76146 w 12305293"/>
              <a:gd name="connsiteY439" fmla="*/ 2892485 h 3722511"/>
              <a:gd name="connsiteX440" fmla="*/ 76144 w 12305293"/>
              <a:gd name="connsiteY440" fmla="*/ 2892485 h 3722511"/>
              <a:gd name="connsiteX441" fmla="*/ 76144 w 12305293"/>
              <a:gd name="connsiteY441" fmla="*/ 2846447 h 3722511"/>
              <a:gd name="connsiteX442" fmla="*/ 76146 w 12305293"/>
              <a:gd name="connsiteY442" fmla="*/ 2846447 h 3722511"/>
              <a:gd name="connsiteX443" fmla="*/ 76146 w 12305293"/>
              <a:gd name="connsiteY443" fmla="*/ 2781359 h 3722511"/>
              <a:gd name="connsiteX444" fmla="*/ 76144 w 12305293"/>
              <a:gd name="connsiteY444" fmla="*/ 2781359 h 3722511"/>
              <a:gd name="connsiteX445" fmla="*/ 76144 w 12305293"/>
              <a:gd name="connsiteY445" fmla="*/ 2733734 h 3722511"/>
              <a:gd name="connsiteX446" fmla="*/ 76146 w 12305293"/>
              <a:gd name="connsiteY446" fmla="*/ 2733734 h 3722511"/>
              <a:gd name="connsiteX447" fmla="*/ 76146 w 12305293"/>
              <a:gd name="connsiteY447" fmla="*/ 2668646 h 3722511"/>
              <a:gd name="connsiteX448" fmla="*/ 76144 w 12305293"/>
              <a:gd name="connsiteY448" fmla="*/ 2668646 h 3722511"/>
              <a:gd name="connsiteX449" fmla="*/ 76144 w 12305293"/>
              <a:gd name="connsiteY449" fmla="*/ 2624196 h 3722511"/>
              <a:gd name="connsiteX450" fmla="*/ 76146 w 12305293"/>
              <a:gd name="connsiteY450" fmla="*/ 2624196 h 3722511"/>
              <a:gd name="connsiteX451" fmla="*/ 76146 w 12305293"/>
              <a:gd name="connsiteY451" fmla="*/ 2559109 h 3722511"/>
              <a:gd name="connsiteX452" fmla="*/ 76145 w 12305293"/>
              <a:gd name="connsiteY452" fmla="*/ 2559109 h 3722511"/>
              <a:gd name="connsiteX453" fmla="*/ 76145 w 12305293"/>
              <a:gd name="connsiteY453" fmla="*/ 2513071 h 3722511"/>
              <a:gd name="connsiteX454" fmla="*/ 76146 w 12305293"/>
              <a:gd name="connsiteY454" fmla="*/ 2513071 h 3722511"/>
              <a:gd name="connsiteX455" fmla="*/ 76146 w 12305293"/>
              <a:gd name="connsiteY455" fmla="*/ 2449571 h 3722511"/>
              <a:gd name="connsiteX456" fmla="*/ 76145 w 12305293"/>
              <a:gd name="connsiteY456" fmla="*/ 2449571 h 3722511"/>
              <a:gd name="connsiteX457" fmla="*/ 76145 w 12305293"/>
              <a:gd name="connsiteY457" fmla="*/ 2403533 h 3722511"/>
              <a:gd name="connsiteX458" fmla="*/ 76146 w 12305293"/>
              <a:gd name="connsiteY458" fmla="*/ 2403533 h 3722511"/>
              <a:gd name="connsiteX459" fmla="*/ 76146 w 12305293"/>
              <a:gd name="connsiteY459" fmla="*/ 2340033 h 3722511"/>
              <a:gd name="connsiteX460" fmla="*/ 76145 w 12305293"/>
              <a:gd name="connsiteY460" fmla="*/ 2340033 h 3722511"/>
              <a:gd name="connsiteX461" fmla="*/ 76145 w 12305293"/>
              <a:gd name="connsiteY461" fmla="*/ 2290820 h 3722511"/>
              <a:gd name="connsiteX462" fmla="*/ 76146 w 12305293"/>
              <a:gd name="connsiteY462" fmla="*/ 2290820 h 3722511"/>
              <a:gd name="connsiteX463" fmla="*/ 76146 w 12305293"/>
              <a:gd name="connsiteY463" fmla="*/ 2230495 h 3722511"/>
              <a:gd name="connsiteX464" fmla="*/ 76145 w 12305293"/>
              <a:gd name="connsiteY464" fmla="*/ 2230495 h 3722511"/>
              <a:gd name="connsiteX465" fmla="*/ 76145 w 12305293"/>
              <a:gd name="connsiteY465" fmla="*/ 2181282 h 3722511"/>
              <a:gd name="connsiteX466" fmla="*/ 76146 w 12305293"/>
              <a:gd name="connsiteY466" fmla="*/ 2181282 h 3722511"/>
              <a:gd name="connsiteX467" fmla="*/ 76146 w 12305293"/>
              <a:gd name="connsiteY467" fmla="*/ 2117782 h 3722511"/>
              <a:gd name="connsiteX468" fmla="*/ 76145 w 12305293"/>
              <a:gd name="connsiteY468" fmla="*/ 2117782 h 3722511"/>
              <a:gd name="connsiteX469" fmla="*/ 76145 w 12305293"/>
              <a:gd name="connsiteY469" fmla="*/ 2071744 h 3722511"/>
              <a:gd name="connsiteX470" fmla="*/ 76146 w 12305293"/>
              <a:gd name="connsiteY470" fmla="*/ 2071744 h 3722511"/>
              <a:gd name="connsiteX471" fmla="*/ 76146 w 12305293"/>
              <a:gd name="connsiteY471" fmla="*/ 2008244 h 3722511"/>
              <a:gd name="connsiteX472" fmla="*/ 76145 w 12305293"/>
              <a:gd name="connsiteY472" fmla="*/ 2008244 h 3722511"/>
              <a:gd name="connsiteX473" fmla="*/ 76145 w 12305293"/>
              <a:gd name="connsiteY473" fmla="*/ 1962206 h 3722511"/>
              <a:gd name="connsiteX474" fmla="*/ 76146 w 12305293"/>
              <a:gd name="connsiteY474" fmla="*/ 1962206 h 3722511"/>
              <a:gd name="connsiteX475" fmla="*/ 76146 w 12305293"/>
              <a:gd name="connsiteY475" fmla="*/ 1897118 h 3722511"/>
              <a:gd name="connsiteX476" fmla="*/ 76146 w 12305293"/>
              <a:gd name="connsiteY476" fmla="*/ 1852668 h 3722511"/>
              <a:gd name="connsiteX477" fmla="*/ 76146 w 12305293"/>
              <a:gd name="connsiteY477" fmla="*/ 1787580 h 3722511"/>
              <a:gd name="connsiteX478" fmla="*/ 76146 w 12305293"/>
              <a:gd name="connsiteY478" fmla="*/ 1739955 h 3722511"/>
              <a:gd name="connsiteX479" fmla="*/ 76146 w 12305293"/>
              <a:gd name="connsiteY479" fmla="*/ 1681217 h 3722511"/>
              <a:gd name="connsiteX480" fmla="*/ 124756 w 12305293"/>
              <a:gd name="connsiteY480" fmla="*/ 1681217 h 3722511"/>
              <a:gd name="connsiteX481" fmla="*/ 124756 w 12305293"/>
              <a:gd name="connsiteY481" fmla="*/ 1681216 h 3722511"/>
              <a:gd name="connsiteX482" fmla="*/ 124744 w 12305293"/>
              <a:gd name="connsiteY482" fmla="*/ 1681216 h 3722511"/>
              <a:gd name="connsiteX483" fmla="*/ 124744 w 12305293"/>
              <a:gd name="connsiteY483" fmla="*/ 1370065 h 3722511"/>
              <a:gd name="connsiteX484" fmla="*/ 192785 w 12305293"/>
              <a:gd name="connsiteY484" fmla="*/ 1370065 h 3722511"/>
              <a:gd name="connsiteX485" fmla="*/ 192780 w 12305293"/>
              <a:gd name="connsiteY485" fmla="*/ 1370080 h 3722511"/>
              <a:gd name="connsiteX486" fmla="*/ 192790 w 12305293"/>
              <a:gd name="connsiteY486" fmla="*/ 1370080 h 3722511"/>
              <a:gd name="connsiteX487" fmla="*/ 192801 w 12305293"/>
              <a:gd name="connsiteY487" fmla="*/ 1370080 h 3722511"/>
              <a:gd name="connsiteX488" fmla="*/ 192801 w 12305293"/>
              <a:gd name="connsiteY488" fmla="*/ 1363694 h 3722511"/>
              <a:gd name="connsiteX489" fmla="*/ 192789 w 12305293"/>
              <a:gd name="connsiteY489" fmla="*/ 1363716 h 3722511"/>
              <a:gd name="connsiteX490" fmla="*/ 192789 w 12305293"/>
              <a:gd name="connsiteY490" fmla="*/ 1342362 h 3722511"/>
              <a:gd name="connsiteX491" fmla="*/ 192789 w 12305293"/>
              <a:gd name="connsiteY491" fmla="*/ 1339312 h 3722511"/>
              <a:gd name="connsiteX492" fmla="*/ 196212 w 12305293"/>
              <a:gd name="connsiteY492" fmla="*/ 1325964 h 3722511"/>
              <a:gd name="connsiteX493" fmla="*/ 196251 w 12305293"/>
              <a:gd name="connsiteY493" fmla="*/ 1325773 h 3722511"/>
              <a:gd name="connsiteX494" fmla="*/ 203690 w 12305293"/>
              <a:gd name="connsiteY494" fmla="*/ 1289391 h 3722511"/>
              <a:gd name="connsiteX495" fmla="*/ 206597 w 12305293"/>
              <a:gd name="connsiteY495" fmla="*/ 1285198 h 3722511"/>
              <a:gd name="connsiteX496" fmla="*/ 206710 w 12305293"/>
              <a:gd name="connsiteY496" fmla="*/ 1285035 h 3722511"/>
              <a:gd name="connsiteX497" fmla="*/ 208437 w 12305293"/>
              <a:gd name="connsiteY497" fmla="*/ 1278302 h 3722511"/>
              <a:gd name="connsiteX498" fmla="*/ 208990 w 12305293"/>
              <a:gd name="connsiteY498" fmla="*/ 1277578 h 3722511"/>
              <a:gd name="connsiteX499" fmla="*/ 208990 w 12305293"/>
              <a:gd name="connsiteY499" fmla="*/ 1264243 h 3722511"/>
              <a:gd name="connsiteX500" fmla="*/ 208990 w 12305293"/>
              <a:gd name="connsiteY500" fmla="*/ 1261176 h 3722511"/>
              <a:gd name="connsiteX501" fmla="*/ 210402 w 12305293"/>
              <a:gd name="connsiteY501" fmla="*/ 1256543 h 3722511"/>
              <a:gd name="connsiteX502" fmla="*/ 218787 w 12305293"/>
              <a:gd name="connsiteY502" fmla="*/ 1216485 h 3722511"/>
              <a:gd name="connsiteX503" fmla="*/ 225541 w 12305293"/>
              <a:gd name="connsiteY503" fmla="*/ 1206871 h 3722511"/>
              <a:gd name="connsiteX504" fmla="*/ 227683 w 12305293"/>
              <a:gd name="connsiteY504" fmla="*/ 1199841 h 3722511"/>
              <a:gd name="connsiteX505" fmla="*/ 228431 w 12305293"/>
              <a:gd name="connsiteY505" fmla="*/ 1199145 h 3722511"/>
              <a:gd name="connsiteX506" fmla="*/ 228431 w 12305293"/>
              <a:gd name="connsiteY506" fmla="*/ 1199045 h 3722511"/>
              <a:gd name="connsiteX507" fmla="*/ 228431 w 12305293"/>
              <a:gd name="connsiteY507" fmla="*/ 1190942 h 3722511"/>
              <a:gd name="connsiteX508" fmla="*/ 228431 w 12305293"/>
              <a:gd name="connsiteY508" fmla="*/ 1187856 h 3722511"/>
              <a:gd name="connsiteX509" fmla="*/ 228738 w 12305293"/>
              <a:gd name="connsiteY509" fmla="*/ 1186508 h 3722511"/>
              <a:gd name="connsiteX510" fmla="*/ 235143 w 12305293"/>
              <a:gd name="connsiteY510" fmla="*/ 1157623 h 3722511"/>
              <a:gd name="connsiteX511" fmla="*/ 236566 w 12305293"/>
              <a:gd name="connsiteY511" fmla="*/ 1150812 h 3722511"/>
              <a:gd name="connsiteX512" fmla="*/ 236694 w 12305293"/>
              <a:gd name="connsiteY512" fmla="*/ 1150628 h 3722511"/>
              <a:gd name="connsiteX513" fmla="*/ 237335 w 12305293"/>
              <a:gd name="connsiteY513" fmla="*/ 1147740 h 3722511"/>
              <a:gd name="connsiteX514" fmla="*/ 246086 w 12305293"/>
              <a:gd name="connsiteY514" fmla="*/ 1136998 h 3722511"/>
              <a:gd name="connsiteX515" fmla="*/ 258619 w 12305293"/>
              <a:gd name="connsiteY515" fmla="*/ 1118808 h 3722511"/>
              <a:gd name="connsiteX516" fmla="*/ 261655 w 12305293"/>
              <a:gd name="connsiteY516" fmla="*/ 1116779 h 3722511"/>
              <a:gd name="connsiteX517" fmla="*/ 262414 w 12305293"/>
              <a:gd name="connsiteY517" fmla="*/ 1116271 h 3722511"/>
              <a:gd name="connsiteX518" fmla="*/ 264989 w 12305293"/>
              <a:gd name="connsiteY518" fmla="*/ 1106181 h 3722511"/>
              <a:gd name="connsiteX519" fmla="*/ 268975 w 12305293"/>
              <a:gd name="connsiteY519" fmla="*/ 1088165 h 3722511"/>
              <a:gd name="connsiteX520" fmla="*/ 277915 w 12305293"/>
              <a:gd name="connsiteY520" fmla="*/ 1047756 h 3722511"/>
              <a:gd name="connsiteX521" fmla="*/ 287193 w 12305293"/>
              <a:gd name="connsiteY521" fmla="*/ 1011289 h 3722511"/>
              <a:gd name="connsiteX522" fmla="*/ 287402 w 12305293"/>
              <a:gd name="connsiteY522" fmla="*/ 1011289 h 3722511"/>
              <a:gd name="connsiteX523" fmla="*/ 287395 w 12305293"/>
              <a:gd name="connsiteY523" fmla="*/ 1011286 h 3722511"/>
              <a:gd name="connsiteX524" fmla="*/ 287383 w 12305293"/>
              <a:gd name="connsiteY524" fmla="*/ 1011286 h 3722511"/>
              <a:gd name="connsiteX525" fmla="*/ 277244 w 12305293"/>
              <a:gd name="connsiteY525" fmla="*/ 1006929 h 3722511"/>
              <a:gd name="connsiteX526" fmla="*/ 273562 w 12305293"/>
              <a:gd name="connsiteY526" fmla="*/ 1005348 h 3722511"/>
              <a:gd name="connsiteX527" fmla="*/ 273560 w 12305293"/>
              <a:gd name="connsiteY527" fmla="*/ 1005345 h 3722511"/>
              <a:gd name="connsiteX528" fmla="*/ 273531 w 12305293"/>
              <a:gd name="connsiteY528" fmla="*/ 1005333 h 3722511"/>
              <a:gd name="connsiteX529" fmla="*/ 268914 w 12305293"/>
              <a:gd name="connsiteY529" fmla="*/ 992236 h 3722511"/>
              <a:gd name="connsiteX530" fmla="*/ 287383 w 12305293"/>
              <a:gd name="connsiteY530" fmla="*/ 976361 h 3722511"/>
              <a:gd name="connsiteX531" fmla="*/ 305563 w 12305293"/>
              <a:gd name="connsiteY531" fmla="*/ 976361 h 3722511"/>
              <a:gd name="connsiteX532" fmla="*/ 308926 w 12305293"/>
              <a:gd name="connsiteY532" fmla="*/ 976361 h 3722511"/>
              <a:gd name="connsiteX533" fmla="*/ 330011 w 12305293"/>
              <a:gd name="connsiteY533" fmla="*/ 619598 h 3722511"/>
              <a:gd name="connsiteX534" fmla="*/ 4187771 w 12305293"/>
              <a:gd name="connsiteY534" fmla="*/ 223881 h 3722511"/>
              <a:gd name="connsiteX535" fmla="*/ 4200732 w 12305293"/>
              <a:gd name="connsiteY535" fmla="*/ 233031 h 3722511"/>
              <a:gd name="connsiteX536" fmla="*/ 4200732 w 12305293"/>
              <a:gd name="connsiteY536" fmla="*/ 315956 h 3722511"/>
              <a:gd name="connsiteX537" fmla="*/ 4225032 w 12305293"/>
              <a:gd name="connsiteY537" fmla="*/ 315956 h 3722511"/>
              <a:gd name="connsiteX538" fmla="*/ 4225032 w 12305293"/>
              <a:gd name="connsiteY538" fmla="*/ 333419 h 3722511"/>
              <a:gd name="connsiteX539" fmla="*/ 4200732 w 12305293"/>
              <a:gd name="connsiteY539" fmla="*/ 333419 h 3722511"/>
              <a:gd name="connsiteX540" fmla="*/ 4200732 w 12305293"/>
              <a:gd name="connsiteY540" fmla="*/ 408592 h 3722511"/>
              <a:gd name="connsiteX541" fmla="*/ 4200732 w 12305293"/>
              <a:gd name="connsiteY541" fmla="*/ 488994 h 3722511"/>
              <a:gd name="connsiteX542" fmla="*/ 4225032 w 12305293"/>
              <a:gd name="connsiteY542" fmla="*/ 488994 h 3722511"/>
              <a:gd name="connsiteX543" fmla="*/ 4225032 w 12305293"/>
              <a:gd name="connsiteY543" fmla="*/ 511219 h 3722511"/>
              <a:gd name="connsiteX544" fmla="*/ 4200732 w 12305293"/>
              <a:gd name="connsiteY544" fmla="*/ 511219 h 3722511"/>
              <a:gd name="connsiteX545" fmla="*/ 4200732 w 12305293"/>
              <a:gd name="connsiteY545" fmla="*/ 566447 h 3722511"/>
              <a:gd name="connsiteX546" fmla="*/ 4200732 w 12305293"/>
              <a:gd name="connsiteY546" fmla="*/ 663620 h 3722511"/>
              <a:gd name="connsiteX547" fmla="*/ 4225032 w 12305293"/>
              <a:gd name="connsiteY547" fmla="*/ 663620 h 3722511"/>
              <a:gd name="connsiteX548" fmla="*/ 4225032 w 12305293"/>
              <a:gd name="connsiteY548" fmla="*/ 684258 h 3722511"/>
              <a:gd name="connsiteX549" fmla="*/ 4200732 w 12305293"/>
              <a:gd name="connsiteY549" fmla="*/ 684258 h 3722511"/>
              <a:gd name="connsiteX550" fmla="*/ 4200732 w 12305293"/>
              <a:gd name="connsiteY550" fmla="*/ 707539 h 3722511"/>
              <a:gd name="connsiteX551" fmla="*/ 4200732 w 12305293"/>
              <a:gd name="connsiteY551" fmla="*/ 832808 h 3722511"/>
              <a:gd name="connsiteX552" fmla="*/ 4200732 w 12305293"/>
              <a:gd name="connsiteY552" fmla="*/ 836658 h 3722511"/>
              <a:gd name="connsiteX553" fmla="*/ 4225032 w 12305293"/>
              <a:gd name="connsiteY553" fmla="*/ 836658 h 3722511"/>
              <a:gd name="connsiteX554" fmla="*/ 4225032 w 12305293"/>
              <a:gd name="connsiteY554" fmla="*/ 857296 h 3722511"/>
              <a:gd name="connsiteX555" fmla="*/ 4200732 w 12305293"/>
              <a:gd name="connsiteY555" fmla="*/ 857296 h 3722511"/>
              <a:gd name="connsiteX556" fmla="*/ 4200732 w 12305293"/>
              <a:gd name="connsiteY556" fmla="*/ 976847 h 3722511"/>
              <a:gd name="connsiteX557" fmla="*/ 4200732 w 12305293"/>
              <a:gd name="connsiteY557" fmla="*/ 992233 h 3722511"/>
              <a:gd name="connsiteX558" fmla="*/ 4284975 w 12305293"/>
              <a:gd name="connsiteY558" fmla="*/ 992233 h 3722511"/>
              <a:gd name="connsiteX559" fmla="*/ 4284975 w 12305293"/>
              <a:gd name="connsiteY559" fmla="*/ 1041446 h 3722511"/>
              <a:gd name="connsiteX560" fmla="*/ 4239126 w 12305293"/>
              <a:gd name="connsiteY560" fmla="*/ 1041446 h 3722511"/>
              <a:gd name="connsiteX561" fmla="*/ 4369219 w 12305293"/>
              <a:gd name="connsiteY561" fmla="*/ 1230359 h 3722511"/>
              <a:gd name="connsiteX562" fmla="*/ 4424303 w 12305293"/>
              <a:gd name="connsiteY562" fmla="*/ 1230359 h 3722511"/>
              <a:gd name="connsiteX563" fmla="*/ 4424303 w 12305293"/>
              <a:gd name="connsiteY563" fmla="*/ 1257346 h 3722511"/>
              <a:gd name="connsiteX564" fmla="*/ 4424303 w 12305293"/>
              <a:gd name="connsiteY564" fmla="*/ 1257347 h 3722511"/>
              <a:gd name="connsiteX565" fmla="*/ 4424303 w 12305293"/>
              <a:gd name="connsiteY565" fmla="*/ 1349421 h 3722511"/>
              <a:gd name="connsiteX566" fmla="*/ 4492347 w 12305293"/>
              <a:gd name="connsiteY566" fmla="*/ 1349421 h 3722511"/>
              <a:gd name="connsiteX567" fmla="*/ 4492347 w 12305293"/>
              <a:gd name="connsiteY567" fmla="*/ 1376409 h 3722511"/>
              <a:gd name="connsiteX568" fmla="*/ 4492347 w 12305293"/>
              <a:gd name="connsiteY568" fmla="*/ 1431972 h 3722511"/>
              <a:gd name="connsiteX569" fmla="*/ 4492347 w 12305293"/>
              <a:gd name="connsiteY569" fmla="*/ 1446260 h 3722511"/>
              <a:gd name="connsiteX570" fmla="*/ 4492347 w 12305293"/>
              <a:gd name="connsiteY570" fmla="*/ 1516109 h 3722511"/>
              <a:gd name="connsiteX571" fmla="*/ 4492347 w 12305293"/>
              <a:gd name="connsiteY571" fmla="*/ 1531984 h 3722511"/>
              <a:gd name="connsiteX572" fmla="*/ 4492347 w 12305293"/>
              <a:gd name="connsiteY572" fmla="*/ 1601834 h 3722511"/>
              <a:gd name="connsiteX573" fmla="*/ 4492347 w 12305293"/>
              <a:gd name="connsiteY573" fmla="*/ 1617709 h 3722511"/>
              <a:gd name="connsiteX574" fmla="*/ 4492347 w 12305293"/>
              <a:gd name="connsiteY574" fmla="*/ 1687560 h 3722511"/>
              <a:gd name="connsiteX575" fmla="*/ 4492347 w 12305293"/>
              <a:gd name="connsiteY575" fmla="*/ 1703435 h 3722511"/>
              <a:gd name="connsiteX576" fmla="*/ 4492347 w 12305293"/>
              <a:gd name="connsiteY576" fmla="*/ 1773285 h 3722511"/>
              <a:gd name="connsiteX577" fmla="*/ 4492347 w 12305293"/>
              <a:gd name="connsiteY577" fmla="*/ 1787573 h 3722511"/>
              <a:gd name="connsiteX578" fmla="*/ 4492347 w 12305293"/>
              <a:gd name="connsiteY578" fmla="*/ 1857423 h 3722511"/>
              <a:gd name="connsiteX579" fmla="*/ 4492347 w 12305293"/>
              <a:gd name="connsiteY579" fmla="*/ 1873298 h 3722511"/>
              <a:gd name="connsiteX580" fmla="*/ 4492347 w 12305293"/>
              <a:gd name="connsiteY580" fmla="*/ 1943148 h 3722511"/>
              <a:gd name="connsiteX581" fmla="*/ 4492347 w 12305293"/>
              <a:gd name="connsiteY581" fmla="*/ 1959023 h 3722511"/>
              <a:gd name="connsiteX582" fmla="*/ 4492347 w 12305293"/>
              <a:gd name="connsiteY582" fmla="*/ 2028873 h 3722511"/>
              <a:gd name="connsiteX583" fmla="*/ 4492347 w 12305293"/>
              <a:gd name="connsiteY583" fmla="*/ 2044748 h 3722511"/>
              <a:gd name="connsiteX584" fmla="*/ 4492347 w 12305293"/>
              <a:gd name="connsiteY584" fmla="*/ 2114598 h 3722511"/>
              <a:gd name="connsiteX585" fmla="*/ 4492347 w 12305293"/>
              <a:gd name="connsiteY585" fmla="*/ 2128886 h 3722511"/>
              <a:gd name="connsiteX586" fmla="*/ 4492347 w 12305293"/>
              <a:gd name="connsiteY586" fmla="*/ 2200323 h 3722511"/>
              <a:gd name="connsiteX587" fmla="*/ 4492347 w 12305293"/>
              <a:gd name="connsiteY587" fmla="*/ 2214611 h 3722511"/>
              <a:gd name="connsiteX588" fmla="*/ 4492347 w 12305293"/>
              <a:gd name="connsiteY588" fmla="*/ 2284461 h 3722511"/>
              <a:gd name="connsiteX589" fmla="*/ 4492347 w 12305293"/>
              <a:gd name="connsiteY589" fmla="*/ 2300336 h 3722511"/>
              <a:gd name="connsiteX590" fmla="*/ 4492347 w 12305293"/>
              <a:gd name="connsiteY590" fmla="*/ 2370186 h 3722511"/>
              <a:gd name="connsiteX591" fmla="*/ 4492347 w 12305293"/>
              <a:gd name="connsiteY591" fmla="*/ 2386061 h 3722511"/>
              <a:gd name="connsiteX592" fmla="*/ 4492347 w 12305293"/>
              <a:gd name="connsiteY592" fmla="*/ 2455912 h 3722511"/>
              <a:gd name="connsiteX593" fmla="*/ 4492347 w 12305293"/>
              <a:gd name="connsiteY593" fmla="*/ 2471787 h 3722511"/>
              <a:gd name="connsiteX594" fmla="*/ 4492347 w 12305293"/>
              <a:gd name="connsiteY594" fmla="*/ 2541637 h 3722511"/>
              <a:gd name="connsiteX595" fmla="*/ 4492347 w 12305293"/>
              <a:gd name="connsiteY595" fmla="*/ 2555925 h 3722511"/>
              <a:gd name="connsiteX596" fmla="*/ 4492347 w 12305293"/>
              <a:gd name="connsiteY596" fmla="*/ 2625775 h 3722511"/>
              <a:gd name="connsiteX597" fmla="*/ 4492347 w 12305293"/>
              <a:gd name="connsiteY597" fmla="*/ 2641650 h 3722511"/>
              <a:gd name="connsiteX598" fmla="*/ 4492347 w 12305293"/>
              <a:gd name="connsiteY598" fmla="*/ 2711500 h 3722511"/>
              <a:gd name="connsiteX599" fmla="*/ 4492347 w 12305293"/>
              <a:gd name="connsiteY599" fmla="*/ 2727375 h 3722511"/>
              <a:gd name="connsiteX600" fmla="*/ 4492347 w 12305293"/>
              <a:gd name="connsiteY600" fmla="*/ 2797225 h 3722511"/>
              <a:gd name="connsiteX601" fmla="*/ 4492347 w 12305293"/>
              <a:gd name="connsiteY601" fmla="*/ 2813100 h 3722511"/>
              <a:gd name="connsiteX602" fmla="*/ 4492347 w 12305293"/>
              <a:gd name="connsiteY602" fmla="*/ 2882950 h 3722511"/>
              <a:gd name="connsiteX603" fmla="*/ 4492347 w 12305293"/>
              <a:gd name="connsiteY603" fmla="*/ 2897238 h 3722511"/>
              <a:gd name="connsiteX604" fmla="*/ 4492347 w 12305293"/>
              <a:gd name="connsiteY604" fmla="*/ 2968675 h 3722511"/>
              <a:gd name="connsiteX605" fmla="*/ 4492347 w 12305293"/>
              <a:gd name="connsiteY605" fmla="*/ 2982963 h 3722511"/>
              <a:gd name="connsiteX606" fmla="*/ 4492347 w 12305293"/>
              <a:gd name="connsiteY606" fmla="*/ 3052813 h 3722511"/>
              <a:gd name="connsiteX607" fmla="*/ 4492347 w 12305293"/>
              <a:gd name="connsiteY607" fmla="*/ 3068688 h 3722511"/>
              <a:gd name="connsiteX608" fmla="*/ 4492347 w 12305293"/>
              <a:gd name="connsiteY608" fmla="*/ 3138538 h 3722511"/>
              <a:gd name="connsiteX609" fmla="*/ 4492347 w 12305293"/>
              <a:gd name="connsiteY609" fmla="*/ 3154413 h 3722511"/>
              <a:gd name="connsiteX610" fmla="*/ 4492347 w 12305293"/>
              <a:gd name="connsiteY610" fmla="*/ 3224264 h 3722511"/>
              <a:gd name="connsiteX611" fmla="*/ 4492347 w 12305293"/>
              <a:gd name="connsiteY611" fmla="*/ 3240139 h 3722511"/>
              <a:gd name="connsiteX612" fmla="*/ 4492347 w 12305293"/>
              <a:gd name="connsiteY612" fmla="*/ 3309989 h 3722511"/>
              <a:gd name="connsiteX613" fmla="*/ 4492347 w 12305293"/>
              <a:gd name="connsiteY613" fmla="*/ 3324277 h 3722511"/>
              <a:gd name="connsiteX614" fmla="*/ 4492347 w 12305293"/>
              <a:gd name="connsiteY614" fmla="*/ 3395714 h 3722511"/>
              <a:gd name="connsiteX615" fmla="*/ 4492347 w 12305293"/>
              <a:gd name="connsiteY615" fmla="*/ 3410002 h 3722511"/>
              <a:gd name="connsiteX616" fmla="*/ 4492347 w 12305293"/>
              <a:gd name="connsiteY616" fmla="*/ 3479852 h 3722511"/>
              <a:gd name="connsiteX617" fmla="*/ 4492347 w 12305293"/>
              <a:gd name="connsiteY617" fmla="*/ 3495727 h 3722511"/>
              <a:gd name="connsiteX618" fmla="*/ 4492347 w 12305293"/>
              <a:gd name="connsiteY618" fmla="*/ 3565577 h 3722511"/>
              <a:gd name="connsiteX619" fmla="*/ 4492347 w 12305293"/>
              <a:gd name="connsiteY619" fmla="*/ 3581452 h 3722511"/>
              <a:gd name="connsiteX620" fmla="*/ 4492347 w 12305293"/>
              <a:gd name="connsiteY620" fmla="*/ 3629279 h 3722511"/>
              <a:gd name="connsiteX621" fmla="*/ 4492419 w 12305293"/>
              <a:gd name="connsiteY621" fmla="*/ 3629142 h 3722511"/>
              <a:gd name="connsiteX622" fmla="*/ 4492419 w 12305293"/>
              <a:gd name="connsiteY622" fmla="*/ 3624328 h 3722511"/>
              <a:gd name="connsiteX623" fmla="*/ 4573424 w 12305293"/>
              <a:gd name="connsiteY623" fmla="*/ 3476690 h 3722511"/>
              <a:gd name="connsiteX624" fmla="*/ 4573425 w 12305293"/>
              <a:gd name="connsiteY624" fmla="*/ 3476690 h 3722511"/>
              <a:gd name="connsiteX625" fmla="*/ 4643089 w 12305293"/>
              <a:gd name="connsiteY625" fmla="*/ 3476690 h 3722511"/>
              <a:gd name="connsiteX626" fmla="*/ 4643089 w 12305293"/>
              <a:gd name="connsiteY626" fmla="*/ 2465449 h 3722511"/>
              <a:gd name="connsiteX627" fmla="*/ 4704652 w 12305293"/>
              <a:gd name="connsiteY627" fmla="*/ 2465449 h 3722511"/>
              <a:gd name="connsiteX628" fmla="*/ 4704652 w 12305293"/>
              <a:gd name="connsiteY628" fmla="*/ 2465448 h 3722511"/>
              <a:gd name="connsiteX629" fmla="*/ 4704652 w 12305293"/>
              <a:gd name="connsiteY629" fmla="*/ 2028884 h 3722511"/>
              <a:gd name="connsiteX630" fmla="*/ 4704652 w 12305293"/>
              <a:gd name="connsiteY630" fmla="*/ 1741545 h 3722511"/>
              <a:gd name="connsiteX631" fmla="*/ 4735434 w 12305293"/>
              <a:gd name="connsiteY631" fmla="*/ 1671695 h 3722511"/>
              <a:gd name="connsiteX632" fmla="*/ 4766216 w 12305293"/>
              <a:gd name="connsiteY632" fmla="*/ 1741545 h 3722511"/>
              <a:gd name="connsiteX633" fmla="*/ 4913644 w 12305293"/>
              <a:gd name="connsiteY633" fmla="*/ 1555807 h 3722511"/>
              <a:gd name="connsiteX634" fmla="*/ 4913644 w 12305293"/>
              <a:gd name="connsiteY634" fmla="*/ 1555808 h 3722511"/>
              <a:gd name="connsiteX635" fmla="*/ 4913645 w 12305293"/>
              <a:gd name="connsiteY635" fmla="*/ 1555807 h 3722511"/>
              <a:gd name="connsiteX636" fmla="*/ 5059454 w 12305293"/>
              <a:gd name="connsiteY636" fmla="*/ 1741545 h 3722511"/>
              <a:gd name="connsiteX637" fmla="*/ 5062694 w 12305293"/>
              <a:gd name="connsiteY637" fmla="*/ 1741545 h 3722511"/>
              <a:gd name="connsiteX638" fmla="*/ 5093475 w 12305293"/>
              <a:gd name="connsiteY638" fmla="*/ 1671695 h 3722511"/>
              <a:gd name="connsiteX639" fmla="*/ 5124257 w 12305293"/>
              <a:gd name="connsiteY639" fmla="*/ 1741545 h 3722511"/>
              <a:gd name="connsiteX640" fmla="*/ 5124257 w 12305293"/>
              <a:gd name="connsiteY640" fmla="*/ 2028884 h 3722511"/>
              <a:gd name="connsiteX641" fmla="*/ 5124257 w 12305293"/>
              <a:gd name="connsiteY641" fmla="*/ 2465449 h 3722511"/>
              <a:gd name="connsiteX642" fmla="*/ 5187441 w 12305293"/>
              <a:gd name="connsiteY642" fmla="*/ 2465449 h 3722511"/>
              <a:gd name="connsiteX643" fmla="*/ 5187441 w 12305293"/>
              <a:gd name="connsiteY643" fmla="*/ 3476690 h 3722511"/>
              <a:gd name="connsiteX644" fmla="*/ 5255485 w 12305293"/>
              <a:gd name="connsiteY644" fmla="*/ 3476690 h 3722511"/>
              <a:gd name="connsiteX645" fmla="*/ 5282926 w 12305293"/>
              <a:gd name="connsiteY645" fmla="*/ 3528335 h 3722511"/>
              <a:gd name="connsiteX646" fmla="*/ 5282926 w 12305293"/>
              <a:gd name="connsiteY646" fmla="*/ 2773408 h 3722511"/>
              <a:gd name="connsiteX647" fmla="*/ 5282941 w 12305293"/>
              <a:gd name="connsiteY647" fmla="*/ 2773408 h 3722511"/>
              <a:gd name="connsiteX648" fmla="*/ 5282941 w 12305293"/>
              <a:gd name="connsiteY648" fmla="*/ 2700418 h 3722511"/>
              <a:gd name="connsiteX649" fmla="*/ 5417408 w 12305293"/>
              <a:gd name="connsiteY649" fmla="*/ 2700418 h 3722511"/>
              <a:gd name="connsiteX650" fmla="*/ 5417409 w 12305293"/>
              <a:gd name="connsiteY650" fmla="*/ 2700417 h 3722511"/>
              <a:gd name="connsiteX651" fmla="*/ 5417408 w 12305293"/>
              <a:gd name="connsiteY651" fmla="*/ 2700417 h 3722511"/>
              <a:gd name="connsiteX652" fmla="*/ 5282941 w 12305293"/>
              <a:gd name="connsiteY652" fmla="*/ 2700417 h 3722511"/>
              <a:gd name="connsiteX653" fmla="*/ 5621538 w 12305293"/>
              <a:gd name="connsiteY653" fmla="*/ 2440065 h 3722511"/>
              <a:gd name="connsiteX654" fmla="*/ 5958515 w 12305293"/>
              <a:gd name="connsiteY654" fmla="*/ 2700417 h 3722511"/>
              <a:gd name="connsiteX655" fmla="*/ 5824047 w 12305293"/>
              <a:gd name="connsiteY655" fmla="*/ 2700417 h 3722511"/>
              <a:gd name="connsiteX656" fmla="*/ 5824048 w 12305293"/>
              <a:gd name="connsiteY656" fmla="*/ 2700418 h 3722511"/>
              <a:gd name="connsiteX657" fmla="*/ 5958515 w 12305293"/>
              <a:gd name="connsiteY657" fmla="*/ 2700418 h 3722511"/>
              <a:gd name="connsiteX658" fmla="*/ 5958515 w 12305293"/>
              <a:gd name="connsiteY658" fmla="*/ 2773444 h 3722511"/>
              <a:gd name="connsiteX659" fmla="*/ 5958498 w 12305293"/>
              <a:gd name="connsiteY659" fmla="*/ 2773444 h 3722511"/>
              <a:gd name="connsiteX660" fmla="*/ 5958498 w 12305293"/>
              <a:gd name="connsiteY660" fmla="*/ 3722511 h 3722511"/>
              <a:gd name="connsiteX661" fmla="*/ 1621689 w 12305293"/>
              <a:gd name="connsiteY661" fmla="*/ 3722511 h 3722511"/>
              <a:gd name="connsiteX662" fmla="*/ 1621689 w 12305293"/>
              <a:gd name="connsiteY662" fmla="*/ 2544808 h 3722511"/>
              <a:gd name="connsiteX663" fmla="*/ 1639501 w 12305293"/>
              <a:gd name="connsiteY663" fmla="*/ 2544808 h 3722511"/>
              <a:gd name="connsiteX664" fmla="*/ 1680000 w 12305293"/>
              <a:gd name="connsiteY664" fmla="*/ 2544808 h 3722511"/>
              <a:gd name="connsiteX665" fmla="*/ 1680000 w 12305293"/>
              <a:gd name="connsiteY665" fmla="*/ 2233658 h 3722511"/>
              <a:gd name="connsiteX666" fmla="*/ 1767513 w 12305293"/>
              <a:gd name="connsiteY666" fmla="*/ 2233658 h 3722511"/>
              <a:gd name="connsiteX667" fmla="*/ 1767513 w 12305293"/>
              <a:gd name="connsiteY667" fmla="*/ 1968545 h 3722511"/>
              <a:gd name="connsiteX668" fmla="*/ 1793446 w 12305293"/>
              <a:gd name="connsiteY668" fmla="*/ 1968545 h 3722511"/>
              <a:gd name="connsiteX669" fmla="*/ 1793446 w 12305293"/>
              <a:gd name="connsiteY669" fmla="*/ 1833608 h 3722511"/>
              <a:gd name="connsiteX670" fmla="*/ 1848543 w 12305293"/>
              <a:gd name="connsiteY670" fmla="*/ 1833608 h 3722511"/>
              <a:gd name="connsiteX671" fmla="*/ 1848543 w 12305293"/>
              <a:gd name="connsiteY671" fmla="*/ 1736770 h 3722511"/>
              <a:gd name="connsiteX672" fmla="*/ 1905234 w 12305293"/>
              <a:gd name="connsiteY672" fmla="*/ 1736770 h 3722511"/>
              <a:gd name="connsiteX673" fmla="*/ 1905234 w 12305293"/>
              <a:gd name="connsiteY673" fmla="*/ 1693908 h 3722511"/>
              <a:gd name="connsiteX674" fmla="*/ 1979758 w 12305293"/>
              <a:gd name="connsiteY674" fmla="*/ 1693908 h 3722511"/>
              <a:gd name="connsiteX675" fmla="*/ 1988915 w 12305293"/>
              <a:gd name="connsiteY675" fmla="*/ 1479595 h 3722511"/>
              <a:gd name="connsiteX676" fmla="*/ 1988666 w 12305293"/>
              <a:gd name="connsiteY676" fmla="*/ 1479595 h 3722511"/>
              <a:gd name="connsiteX677" fmla="*/ 1987883 w 12305293"/>
              <a:gd name="connsiteY677" fmla="*/ 1479595 h 3722511"/>
              <a:gd name="connsiteX678" fmla="*/ 1987492 w 12305293"/>
              <a:gd name="connsiteY678" fmla="*/ 1479595 h 3722511"/>
              <a:gd name="connsiteX679" fmla="*/ 1980334 w 12305293"/>
              <a:gd name="connsiteY679" fmla="*/ 1479595 h 3722511"/>
              <a:gd name="connsiteX680" fmla="*/ 1979256 w 12305293"/>
              <a:gd name="connsiteY680" fmla="*/ 1479595 h 3722511"/>
              <a:gd name="connsiteX681" fmla="*/ 1967873 w 12305293"/>
              <a:gd name="connsiteY681" fmla="*/ 1475847 h 3722511"/>
              <a:gd name="connsiteX682" fmla="*/ 1963542 w 12305293"/>
              <a:gd name="connsiteY682" fmla="*/ 1467600 h 3722511"/>
              <a:gd name="connsiteX683" fmla="*/ 1979256 w 12305293"/>
              <a:gd name="connsiteY683" fmla="*/ 1452607 h 3722511"/>
              <a:gd name="connsiteX684" fmla="*/ 1980433 w 12305293"/>
              <a:gd name="connsiteY684" fmla="*/ 1452607 h 3722511"/>
              <a:gd name="connsiteX685" fmla="*/ 1988666 w 12305293"/>
              <a:gd name="connsiteY685" fmla="*/ 1452607 h 3722511"/>
              <a:gd name="connsiteX686" fmla="*/ 1988695 w 12305293"/>
              <a:gd name="connsiteY686" fmla="*/ 1452607 h 3722511"/>
              <a:gd name="connsiteX687" fmla="*/ 1989477 w 12305293"/>
              <a:gd name="connsiteY687" fmla="*/ 1452607 h 3722511"/>
              <a:gd name="connsiteX688" fmla="*/ 2003620 w 12305293"/>
              <a:gd name="connsiteY688" fmla="*/ 1132318 h 3722511"/>
              <a:gd name="connsiteX689" fmla="*/ 2003121 w 12305293"/>
              <a:gd name="connsiteY689" fmla="*/ 1142981 h 3722511"/>
              <a:gd name="connsiteX690" fmla="*/ 2003620 w 12305293"/>
              <a:gd name="connsiteY690" fmla="*/ 1132317 h 3722511"/>
              <a:gd name="connsiteX691" fmla="*/ 2003620 w 12305293"/>
              <a:gd name="connsiteY691" fmla="*/ 1132271 h 3722511"/>
              <a:gd name="connsiteX692" fmla="*/ 2003926 w 12305293"/>
              <a:gd name="connsiteY692" fmla="*/ 1125367 h 3722511"/>
              <a:gd name="connsiteX693" fmla="*/ 2007272 w 12305293"/>
              <a:gd name="connsiteY693" fmla="*/ 1049602 h 3722511"/>
              <a:gd name="connsiteX694" fmla="*/ 2007280 w 12305293"/>
              <a:gd name="connsiteY694" fmla="*/ 1049382 h 3722511"/>
              <a:gd name="connsiteX695" fmla="*/ 2007283 w 12305293"/>
              <a:gd name="connsiteY695" fmla="*/ 1049382 h 3722511"/>
              <a:gd name="connsiteX696" fmla="*/ 2007483 w 12305293"/>
              <a:gd name="connsiteY696" fmla="*/ 1049382 h 3722511"/>
              <a:gd name="connsiteX697" fmla="*/ 2008268 w 12305293"/>
              <a:gd name="connsiteY697" fmla="*/ 1049382 h 3722511"/>
              <a:gd name="connsiteX698" fmla="*/ 2012971 w 12305293"/>
              <a:gd name="connsiteY698" fmla="*/ 1049382 h 3722511"/>
              <a:gd name="connsiteX699" fmla="*/ 2013755 w 12305293"/>
              <a:gd name="connsiteY699" fmla="*/ 1049382 h 3722511"/>
              <a:gd name="connsiteX700" fmla="*/ 2020230 w 12305293"/>
              <a:gd name="connsiteY700" fmla="*/ 1049382 h 3722511"/>
              <a:gd name="connsiteX701" fmla="*/ 2037377 w 12305293"/>
              <a:gd name="connsiteY701" fmla="*/ 1452607 h 3722511"/>
              <a:gd name="connsiteX702" fmla="*/ 2039561 w 12305293"/>
              <a:gd name="connsiteY702" fmla="*/ 1452607 h 3722511"/>
              <a:gd name="connsiteX703" fmla="*/ 2048198 w 12305293"/>
              <a:gd name="connsiteY703" fmla="*/ 1452607 h 3722511"/>
              <a:gd name="connsiteX704" fmla="*/ 2063900 w 12305293"/>
              <a:gd name="connsiteY704" fmla="*/ 1467600 h 3722511"/>
              <a:gd name="connsiteX705" fmla="*/ 2048198 w 12305293"/>
              <a:gd name="connsiteY705" fmla="*/ 1479595 h 3722511"/>
              <a:gd name="connsiteX706" fmla="*/ 2038529 w 12305293"/>
              <a:gd name="connsiteY706" fmla="*/ 1479595 h 3722511"/>
              <a:gd name="connsiteX707" fmla="*/ 2047691 w 12305293"/>
              <a:gd name="connsiteY707" fmla="*/ 1693908 h 3722511"/>
              <a:gd name="connsiteX708" fmla="*/ 2122229 w 12305293"/>
              <a:gd name="connsiteY708" fmla="*/ 1693908 h 3722511"/>
              <a:gd name="connsiteX709" fmla="*/ 2122229 w 12305293"/>
              <a:gd name="connsiteY709" fmla="*/ 1736770 h 3722511"/>
              <a:gd name="connsiteX710" fmla="*/ 2178885 w 12305293"/>
              <a:gd name="connsiteY710" fmla="*/ 1736770 h 3722511"/>
              <a:gd name="connsiteX711" fmla="*/ 2178885 w 12305293"/>
              <a:gd name="connsiteY711" fmla="*/ 1833608 h 3722511"/>
              <a:gd name="connsiteX712" fmla="*/ 2234022 w 12305293"/>
              <a:gd name="connsiteY712" fmla="*/ 1833608 h 3722511"/>
              <a:gd name="connsiteX713" fmla="*/ 2234022 w 12305293"/>
              <a:gd name="connsiteY713" fmla="*/ 1968545 h 3722511"/>
              <a:gd name="connsiteX714" fmla="*/ 2259999 w 12305293"/>
              <a:gd name="connsiteY714" fmla="*/ 1968545 h 3722511"/>
              <a:gd name="connsiteX715" fmla="*/ 2259999 w 12305293"/>
              <a:gd name="connsiteY715" fmla="*/ 2233658 h 3722511"/>
              <a:gd name="connsiteX716" fmla="*/ 2345764 w 12305293"/>
              <a:gd name="connsiteY716" fmla="*/ 2233658 h 3722511"/>
              <a:gd name="connsiteX717" fmla="*/ 2345764 w 12305293"/>
              <a:gd name="connsiteY717" fmla="*/ 2544808 h 3722511"/>
              <a:gd name="connsiteX718" fmla="*/ 2405725 w 12305293"/>
              <a:gd name="connsiteY718" fmla="*/ 2544808 h 3722511"/>
              <a:gd name="connsiteX719" fmla="*/ 2405725 w 12305293"/>
              <a:gd name="connsiteY719" fmla="*/ 3703690 h 3722511"/>
              <a:gd name="connsiteX720" fmla="*/ 2408302 w 12305293"/>
              <a:gd name="connsiteY720" fmla="*/ 3703690 h 3722511"/>
              <a:gd name="connsiteX721" fmla="*/ 2408304 w 12305293"/>
              <a:gd name="connsiteY721" fmla="*/ 3703690 h 3722511"/>
              <a:gd name="connsiteX722" fmla="*/ 2411417 w 12305293"/>
              <a:gd name="connsiteY722" fmla="*/ 3703690 h 3722511"/>
              <a:gd name="connsiteX723" fmla="*/ 2433205 w 12305293"/>
              <a:gd name="connsiteY723" fmla="*/ 3703690 h 3722511"/>
              <a:gd name="connsiteX724" fmla="*/ 2433245 w 12305293"/>
              <a:gd name="connsiteY724" fmla="*/ 3703690 h 3722511"/>
              <a:gd name="connsiteX725" fmla="*/ 2433245 w 12305293"/>
              <a:gd name="connsiteY725" fmla="*/ 3644953 h 3722511"/>
              <a:gd name="connsiteX726" fmla="*/ 2412185 w 12305293"/>
              <a:gd name="connsiteY726" fmla="*/ 3644953 h 3722511"/>
              <a:gd name="connsiteX727" fmla="*/ 2412184 w 12305293"/>
              <a:gd name="connsiteY727" fmla="*/ 3644953 h 3722511"/>
              <a:gd name="connsiteX728" fmla="*/ 2412184 w 12305293"/>
              <a:gd name="connsiteY728" fmla="*/ 3592565 h 3722511"/>
              <a:gd name="connsiteX729" fmla="*/ 2412185 w 12305293"/>
              <a:gd name="connsiteY729" fmla="*/ 3592565 h 3722511"/>
              <a:gd name="connsiteX730" fmla="*/ 2433245 w 12305293"/>
              <a:gd name="connsiteY730" fmla="*/ 3592565 h 3722511"/>
              <a:gd name="connsiteX731" fmla="*/ 2433245 w 12305293"/>
              <a:gd name="connsiteY731" fmla="*/ 3532240 h 3722511"/>
              <a:gd name="connsiteX732" fmla="*/ 2433247 w 12305293"/>
              <a:gd name="connsiteY732" fmla="*/ 3532240 h 3722511"/>
              <a:gd name="connsiteX733" fmla="*/ 2496433 w 12305293"/>
              <a:gd name="connsiteY733" fmla="*/ 3532240 h 3722511"/>
              <a:gd name="connsiteX734" fmla="*/ 2496433 w 12305293"/>
              <a:gd name="connsiteY734" fmla="*/ 3532239 h 3722511"/>
              <a:gd name="connsiteX735" fmla="*/ 2496433 w 12305293"/>
              <a:gd name="connsiteY735" fmla="*/ 2916288 h 3722511"/>
              <a:gd name="connsiteX736" fmla="*/ 2496582 w 12305293"/>
              <a:gd name="connsiteY736" fmla="*/ 2916123 h 3722511"/>
              <a:gd name="connsiteX737" fmla="*/ 2551787 w 12305293"/>
              <a:gd name="connsiteY737" fmla="*/ 2854973 h 3722511"/>
              <a:gd name="connsiteX738" fmla="*/ 2551787 w 12305293"/>
              <a:gd name="connsiteY738" fmla="*/ 2800850 h 3722511"/>
              <a:gd name="connsiteX739" fmla="*/ 2551787 w 12305293"/>
              <a:gd name="connsiteY739" fmla="*/ 2632571 h 3722511"/>
              <a:gd name="connsiteX740" fmla="*/ 2548840 w 12305293"/>
              <a:gd name="connsiteY740" fmla="*/ 2566607 h 3722511"/>
              <a:gd name="connsiteX741" fmla="*/ 2539796 w 12305293"/>
              <a:gd name="connsiteY741" fmla="*/ 2517413 h 3722511"/>
              <a:gd name="connsiteX742" fmla="*/ 2502127 w 12305293"/>
              <a:gd name="connsiteY742" fmla="*/ 2431534 h 3722511"/>
              <a:gd name="connsiteX743" fmla="*/ 2446207 w 12305293"/>
              <a:gd name="connsiteY743" fmla="*/ 2303290 h 3722511"/>
              <a:gd name="connsiteX744" fmla="*/ 2446207 w 12305293"/>
              <a:gd name="connsiteY744" fmla="*/ 2300236 h 3722511"/>
              <a:gd name="connsiteX745" fmla="*/ 2446207 w 12305293"/>
              <a:gd name="connsiteY745" fmla="*/ 2297183 h 3722511"/>
              <a:gd name="connsiteX746" fmla="*/ 2452206 w 12305293"/>
              <a:gd name="connsiteY746" fmla="*/ 2263977 h 3722511"/>
              <a:gd name="connsiteX747" fmla="*/ 2452528 w 12305293"/>
              <a:gd name="connsiteY747" fmla="*/ 2261877 h 3722511"/>
              <a:gd name="connsiteX748" fmla="*/ 2452632 w 12305293"/>
              <a:gd name="connsiteY748" fmla="*/ 2261627 h 3722511"/>
              <a:gd name="connsiteX749" fmla="*/ 2453585 w 12305293"/>
              <a:gd name="connsiteY749" fmla="*/ 2256343 h 3722511"/>
              <a:gd name="connsiteX750" fmla="*/ 2461432 w 12305293"/>
              <a:gd name="connsiteY750" fmla="*/ 2240297 h 3722511"/>
              <a:gd name="connsiteX751" fmla="*/ 2465327 w 12305293"/>
              <a:gd name="connsiteY751" fmla="*/ 2230857 h 3722511"/>
              <a:gd name="connsiteX752" fmla="*/ 2467128 w 12305293"/>
              <a:gd name="connsiteY752" fmla="*/ 2228504 h 3722511"/>
              <a:gd name="connsiteX753" fmla="*/ 2465855 w 12305293"/>
              <a:gd name="connsiteY753" fmla="*/ 2220479 h 3722511"/>
              <a:gd name="connsiteX754" fmla="*/ 2449634 w 12305293"/>
              <a:gd name="connsiteY754" fmla="*/ 1994037 h 3722511"/>
              <a:gd name="connsiteX755" fmla="*/ 2451718 w 12305293"/>
              <a:gd name="connsiteY755" fmla="*/ 1909727 h 3722511"/>
              <a:gd name="connsiteX756" fmla="*/ 2436271 w 12305293"/>
              <a:gd name="connsiteY756" fmla="*/ 1903696 h 3722511"/>
              <a:gd name="connsiteX757" fmla="*/ 2430006 w 12305293"/>
              <a:gd name="connsiteY757" fmla="*/ 1888409 h 3722511"/>
              <a:gd name="connsiteX758" fmla="*/ 2430006 w 12305293"/>
              <a:gd name="connsiteY758" fmla="*/ 1851720 h 3722511"/>
              <a:gd name="connsiteX759" fmla="*/ 2430031 w 12305293"/>
              <a:gd name="connsiteY759" fmla="*/ 1851662 h 3722511"/>
              <a:gd name="connsiteX760" fmla="*/ 2436662 w 12305293"/>
              <a:gd name="connsiteY760" fmla="*/ 1834905 h 3722511"/>
              <a:gd name="connsiteX761" fmla="*/ 2451158 w 12305293"/>
              <a:gd name="connsiteY761" fmla="*/ 1828883 h 3722511"/>
              <a:gd name="connsiteX762" fmla="*/ 2449312 w 12305293"/>
              <a:gd name="connsiteY762" fmla="*/ 1779636 h 3722511"/>
              <a:gd name="connsiteX763" fmla="*/ 2402465 w 12305293"/>
              <a:gd name="connsiteY763" fmla="*/ 1779636 h 3722511"/>
              <a:gd name="connsiteX764" fmla="*/ 2402465 w 12305293"/>
              <a:gd name="connsiteY764" fmla="*/ 1720898 h 3722511"/>
              <a:gd name="connsiteX765" fmla="*/ 2447101 w 12305293"/>
              <a:gd name="connsiteY765" fmla="*/ 1720898 h 3722511"/>
              <a:gd name="connsiteX766" fmla="*/ 2446208 w 12305293"/>
              <a:gd name="connsiteY766" fmla="*/ 1697089 h 3722511"/>
              <a:gd name="connsiteX767" fmla="*/ 2446207 w 12305293"/>
              <a:gd name="connsiteY767" fmla="*/ 1697086 h 3722511"/>
              <a:gd name="connsiteX768" fmla="*/ 2445846 w 12305293"/>
              <a:gd name="connsiteY768" fmla="*/ 1697086 h 3722511"/>
              <a:gd name="connsiteX769" fmla="*/ 2445398 w 12305293"/>
              <a:gd name="connsiteY769" fmla="*/ 1697086 h 3722511"/>
              <a:gd name="connsiteX770" fmla="*/ 2437195 w 12305293"/>
              <a:gd name="connsiteY770" fmla="*/ 1680973 h 3722511"/>
              <a:gd name="connsiteX771" fmla="*/ 2436537 w 12305293"/>
              <a:gd name="connsiteY771" fmla="*/ 1669670 h 3722511"/>
              <a:gd name="connsiteX772" fmla="*/ 2436488 w 12305293"/>
              <a:gd name="connsiteY772" fmla="*/ 1669463 h 3722511"/>
              <a:gd name="connsiteX773" fmla="*/ 2436519 w 12305293"/>
              <a:gd name="connsiteY773" fmla="*/ 1669370 h 3722511"/>
              <a:gd name="connsiteX774" fmla="*/ 2436172 w 12305293"/>
              <a:gd name="connsiteY774" fmla="*/ 1663421 h 3722511"/>
              <a:gd name="connsiteX775" fmla="*/ 2445398 w 12305293"/>
              <a:gd name="connsiteY775" fmla="*/ 1641841 h 3722511"/>
              <a:gd name="connsiteX776" fmla="*/ 2475142 w 12305293"/>
              <a:gd name="connsiteY776" fmla="*/ 1602512 h 3722511"/>
              <a:gd name="connsiteX777" fmla="*/ 2476276 w 12305293"/>
              <a:gd name="connsiteY777" fmla="*/ 1599055 h 3722511"/>
              <a:gd name="connsiteX778" fmla="*/ 2482893 w 12305293"/>
              <a:gd name="connsiteY778" fmla="*/ 1558973 h 3722511"/>
              <a:gd name="connsiteX779" fmla="*/ 2483674 w 12305293"/>
              <a:gd name="connsiteY779" fmla="*/ 1560103 h 3722511"/>
              <a:gd name="connsiteX780" fmla="*/ 2483291 w 12305293"/>
              <a:gd name="connsiteY780" fmla="*/ 1558973 h 3722511"/>
              <a:gd name="connsiteX781" fmla="*/ 2520735 w 12305293"/>
              <a:gd name="connsiteY781" fmla="*/ 1647979 h 3722511"/>
              <a:gd name="connsiteX782" fmla="*/ 2515275 w 12305293"/>
              <a:gd name="connsiteY782" fmla="*/ 1674834 h 3722511"/>
              <a:gd name="connsiteX783" fmla="*/ 2512393 w 12305293"/>
              <a:gd name="connsiteY783" fmla="*/ 1678124 h 3722511"/>
              <a:gd name="connsiteX784" fmla="*/ 2511900 w 12305293"/>
              <a:gd name="connsiteY784" fmla="*/ 1679696 h 3722511"/>
              <a:gd name="connsiteX785" fmla="*/ 2500361 w 12305293"/>
              <a:gd name="connsiteY785" fmla="*/ 1691850 h 3722511"/>
              <a:gd name="connsiteX786" fmla="*/ 2495772 w 12305293"/>
              <a:gd name="connsiteY786" fmla="*/ 1697086 h 3722511"/>
              <a:gd name="connsiteX787" fmla="*/ 2496433 w 12305293"/>
              <a:gd name="connsiteY787" fmla="*/ 1697086 h 3722511"/>
              <a:gd name="connsiteX788" fmla="*/ 2495537 w 12305293"/>
              <a:gd name="connsiteY788" fmla="*/ 1720898 h 3722511"/>
              <a:gd name="connsiteX789" fmla="*/ 2538555 w 12305293"/>
              <a:gd name="connsiteY789" fmla="*/ 1720898 h 3722511"/>
              <a:gd name="connsiteX790" fmla="*/ 2538557 w 12305293"/>
              <a:gd name="connsiteY790" fmla="*/ 1720898 h 3722511"/>
              <a:gd name="connsiteX791" fmla="*/ 2538557 w 12305293"/>
              <a:gd name="connsiteY791" fmla="*/ 1779636 h 3722511"/>
              <a:gd name="connsiteX792" fmla="*/ 2538555 w 12305293"/>
              <a:gd name="connsiteY792" fmla="*/ 1779636 h 3722511"/>
              <a:gd name="connsiteX793" fmla="*/ 2493330 w 12305293"/>
              <a:gd name="connsiteY793" fmla="*/ 1779636 h 3722511"/>
              <a:gd name="connsiteX794" fmla="*/ 2491064 w 12305293"/>
              <a:gd name="connsiteY794" fmla="*/ 1839961 h 3722511"/>
              <a:gd name="connsiteX795" fmla="*/ 2492381 w 12305293"/>
              <a:gd name="connsiteY795" fmla="*/ 1839961 h 3722511"/>
              <a:gd name="connsiteX796" fmla="*/ 2501294 w 12305293"/>
              <a:gd name="connsiteY796" fmla="*/ 1848957 h 3722511"/>
              <a:gd name="connsiteX797" fmla="*/ 2501294 w 12305293"/>
              <a:gd name="connsiteY797" fmla="*/ 1852661 h 3722511"/>
              <a:gd name="connsiteX798" fmla="*/ 2501833 w 12305293"/>
              <a:gd name="connsiteY798" fmla="*/ 1852661 h 3722511"/>
              <a:gd name="connsiteX799" fmla="*/ 2501833 w 12305293"/>
              <a:gd name="connsiteY799" fmla="*/ 1857548 h 3722511"/>
              <a:gd name="connsiteX800" fmla="*/ 2501959 w 12305293"/>
              <a:gd name="connsiteY800" fmla="*/ 1857424 h 3722511"/>
              <a:gd name="connsiteX801" fmla="*/ 2501959 w 12305293"/>
              <a:gd name="connsiteY801" fmla="*/ 1900128 h 3722511"/>
              <a:gd name="connsiteX802" fmla="*/ 2501833 w 12305293"/>
              <a:gd name="connsiteY802" fmla="*/ 1900321 h 3722511"/>
              <a:gd name="connsiteX803" fmla="*/ 2501833 w 12305293"/>
              <a:gd name="connsiteY803" fmla="*/ 1901315 h 3722511"/>
              <a:gd name="connsiteX804" fmla="*/ 2495623 w 12305293"/>
              <a:gd name="connsiteY804" fmla="*/ 1910817 h 3722511"/>
              <a:gd name="connsiteX805" fmla="*/ 2489608 w 12305293"/>
              <a:gd name="connsiteY805" fmla="*/ 1922226 h 3722511"/>
              <a:gd name="connsiteX806" fmla="*/ 2490054 w 12305293"/>
              <a:gd name="connsiteY806" fmla="*/ 1930703 h 3722511"/>
              <a:gd name="connsiteX807" fmla="*/ 2494440 w 12305293"/>
              <a:gd name="connsiteY807" fmla="*/ 1986107 h 3722511"/>
              <a:gd name="connsiteX808" fmla="*/ 2500141 w 12305293"/>
              <a:gd name="connsiteY808" fmla="*/ 2023322 h 3722511"/>
              <a:gd name="connsiteX809" fmla="*/ 2508793 w 12305293"/>
              <a:gd name="connsiteY809" fmla="*/ 2060558 h 3722511"/>
              <a:gd name="connsiteX810" fmla="*/ 2518318 w 12305293"/>
              <a:gd name="connsiteY810" fmla="*/ 2098634 h 3722511"/>
              <a:gd name="connsiteX811" fmla="*/ 2545321 w 12305293"/>
              <a:gd name="connsiteY811" fmla="*/ 2177702 h 3722511"/>
              <a:gd name="connsiteX812" fmla="*/ 2545659 w 12305293"/>
              <a:gd name="connsiteY812" fmla="*/ 2178866 h 3722511"/>
              <a:gd name="connsiteX813" fmla="*/ 2545838 w 12305293"/>
              <a:gd name="connsiteY813" fmla="*/ 2178843 h 3722511"/>
              <a:gd name="connsiteX814" fmla="*/ 2545621 w 12305293"/>
              <a:gd name="connsiteY814" fmla="*/ 2178099 h 3722511"/>
              <a:gd name="connsiteX815" fmla="*/ 2551787 w 12305293"/>
              <a:gd name="connsiteY815" fmla="*/ 2178099 h 3722511"/>
              <a:gd name="connsiteX816" fmla="*/ 2551835 w 12305293"/>
              <a:gd name="connsiteY816" fmla="*/ 2178099 h 3722511"/>
              <a:gd name="connsiteX817" fmla="*/ 2554940 w 12305293"/>
              <a:gd name="connsiteY817" fmla="*/ 2178099 h 3722511"/>
              <a:gd name="connsiteX818" fmla="*/ 2559630 w 12305293"/>
              <a:gd name="connsiteY818" fmla="*/ 2191926 h 3722511"/>
              <a:gd name="connsiteX819" fmla="*/ 2562207 w 12305293"/>
              <a:gd name="connsiteY819" fmla="*/ 2196470 h 3722511"/>
              <a:gd name="connsiteX820" fmla="*/ 2565540 w 12305293"/>
              <a:gd name="connsiteY820" fmla="*/ 2196182 h 3722511"/>
              <a:gd name="connsiteX821" fmla="*/ 2575757 w 12305293"/>
              <a:gd name="connsiteY821" fmla="*/ 2195298 h 3722511"/>
              <a:gd name="connsiteX822" fmla="*/ 2588432 w 12305293"/>
              <a:gd name="connsiteY822" fmla="*/ 2194201 h 3722511"/>
              <a:gd name="connsiteX823" fmla="*/ 2645482 w 12305293"/>
              <a:gd name="connsiteY823" fmla="*/ 2187624 h 3722511"/>
              <a:gd name="connsiteX824" fmla="*/ 2645482 w 12305293"/>
              <a:gd name="connsiteY824" fmla="*/ 2187237 h 3722511"/>
              <a:gd name="connsiteX825" fmla="*/ 2646492 w 12305293"/>
              <a:gd name="connsiteY825" fmla="*/ 2187237 h 3722511"/>
              <a:gd name="connsiteX826" fmla="*/ 2650822 w 12305293"/>
              <a:gd name="connsiteY826" fmla="*/ 2171884 h 3722511"/>
              <a:gd name="connsiteX827" fmla="*/ 2651353 w 12305293"/>
              <a:gd name="connsiteY827" fmla="*/ 2168254 h 3722511"/>
              <a:gd name="connsiteX828" fmla="*/ 2554786 w 12305293"/>
              <a:gd name="connsiteY828" fmla="*/ 2117788 h 3722511"/>
              <a:gd name="connsiteX829" fmla="*/ 2554757 w 12305293"/>
              <a:gd name="connsiteY829" fmla="*/ 2117774 h 3722511"/>
              <a:gd name="connsiteX830" fmla="*/ 2554761 w 12305293"/>
              <a:gd name="connsiteY830" fmla="*/ 2117775 h 3722511"/>
              <a:gd name="connsiteX831" fmla="*/ 2554759 w 12305293"/>
              <a:gd name="connsiteY831" fmla="*/ 2117774 h 3722511"/>
              <a:gd name="connsiteX832" fmla="*/ 2664611 w 12305293"/>
              <a:gd name="connsiteY832" fmla="*/ 2147603 h 3722511"/>
              <a:gd name="connsiteX833" fmla="*/ 2671887 w 12305293"/>
              <a:gd name="connsiteY833" fmla="*/ 2142865 h 3722511"/>
              <a:gd name="connsiteX834" fmla="*/ 2675375 w 12305293"/>
              <a:gd name="connsiteY834" fmla="*/ 2139162 h 3722511"/>
              <a:gd name="connsiteX835" fmla="*/ 2682527 w 12305293"/>
              <a:gd name="connsiteY835" fmla="*/ 2135713 h 3722511"/>
              <a:gd name="connsiteX836" fmla="*/ 2605626 w 12305293"/>
              <a:gd name="connsiteY836" fmla="*/ 2056524 h 3722511"/>
              <a:gd name="connsiteX837" fmla="*/ 2604981 w 12305293"/>
              <a:gd name="connsiteY837" fmla="*/ 2055862 h 3722511"/>
              <a:gd name="connsiteX838" fmla="*/ 2604986 w 12305293"/>
              <a:gd name="connsiteY838" fmla="*/ 2055865 h 3722511"/>
              <a:gd name="connsiteX839" fmla="*/ 2604983 w 12305293"/>
              <a:gd name="connsiteY839" fmla="*/ 2055862 h 3722511"/>
              <a:gd name="connsiteX840" fmla="*/ 2605280 w 12305293"/>
              <a:gd name="connsiteY840" fmla="*/ 2056059 h 3722511"/>
              <a:gd name="connsiteX841" fmla="*/ 2606576 w 12305293"/>
              <a:gd name="connsiteY841" fmla="*/ 2056911 h 3722511"/>
              <a:gd name="connsiteX842" fmla="*/ 2707043 w 12305293"/>
              <a:gd name="connsiteY842" fmla="*/ 2123025 h 3722511"/>
              <a:gd name="connsiteX843" fmla="*/ 2706653 w 12305293"/>
              <a:gd name="connsiteY843" fmla="*/ 2123217 h 3722511"/>
              <a:gd name="connsiteX844" fmla="*/ 2707402 w 12305293"/>
              <a:gd name="connsiteY844" fmla="*/ 2123713 h 3722511"/>
              <a:gd name="connsiteX845" fmla="*/ 2707816 w 12305293"/>
              <a:gd name="connsiteY845" fmla="*/ 2123512 h 3722511"/>
              <a:gd name="connsiteX846" fmla="*/ 2710536 w 12305293"/>
              <a:gd name="connsiteY846" fmla="*/ 2123120 h 3722511"/>
              <a:gd name="connsiteX847" fmla="*/ 2735173 w 12305293"/>
              <a:gd name="connsiteY847" fmla="*/ 2117774 h 3722511"/>
              <a:gd name="connsiteX848" fmla="*/ 2734586 w 12305293"/>
              <a:gd name="connsiteY848" fmla="*/ 2117774 h 3722511"/>
              <a:gd name="connsiteX849" fmla="*/ 2747547 w 12305293"/>
              <a:gd name="connsiteY849" fmla="*/ 1992361 h 3722511"/>
              <a:gd name="connsiteX850" fmla="*/ 2763057 w 12305293"/>
              <a:gd name="connsiteY850" fmla="*/ 2120014 h 3722511"/>
              <a:gd name="connsiteX851" fmla="*/ 2787277 w 12305293"/>
              <a:gd name="connsiteY851" fmla="*/ 2123512 h 3722511"/>
              <a:gd name="connsiteX852" fmla="*/ 2789568 w 12305293"/>
              <a:gd name="connsiteY852" fmla="*/ 2124617 h 3722511"/>
              <a:gd name="connsiteX853" fmla="*/ 2893362 w 12305293"/>
              <a:gd name="connsiteY853" fmla="*/ 2055862 h 3722511"/>
              <a:gd name="connsiteX854" fmla="*/ 2814777 w 12305293"/>
              <a:gd name="connsiteY854" fmla="*/ 2136777 h 3722511"/>
              <a:gd name="connsiteX855" fmla="*/ 2819722 w 12305293"/>
              <a:gd name="connsiteY855" fmla="*/ 2139162 h 3722511"/>
              <a:gd name="connsiteX856" fmla="*/ 2828908 w 12305293"/>
              <a:gd name="connsiteY856" fmla="*/ 2148911 h 3722511"/>
              <a:gd name="connsiteX857" fmla="*/ 2943581 w 12305293"/>
              <a:gd name="connsiteY857" fmla="*/ 2117774 h 3722511"/>
              <a:gd name="connsiteX858" fmla="*/ 2843735 w 12305293"/>
              <a:gd name="connsiteY858" fmla="*/ 2169955 h 3722511"/>
              <a:gd name="connsiteX859" fmla="*/ 2848583 w 12305293"/>
              <a:gd name="connsiteY859" fmla="*/ 2187131 h 3722511"/>
              <a:gd name="connsiteX860" fmla="*/ 2963021 w 12305293"/>
              <a:gd name="connsiteY860" fmla="*/ 2200324 h 3722511"/>
              <a:gd name="connsiteX861" fmla="*/ 2847368 w 12305293"/>
              <a:gd name="connsiteY861" fmla="*/ 2209657 h 3722511"/>
              <a:gd name="connsiteX862" fmla="*/ 2862495 w 12305293"/>
              <a:gd name="connsiteY862" fmla="*/ 2392463 h 3722511"/>
              <a:gd name="connsiteX863" fmla="*/ 2872400 w 12305293"/>
              <a:gd name="connsiteY863" fmla="*/ 2393569 h 3722511"/>
              <a:gd name="connsiteX864" fmla="*/ 2899571 w 12305293"/>
              <a:gd name="connsiteY864" fmla="*/ 2400759 h 3722511"/>
              <a:gd name="connsiteX865" fmla="*/ 2936831 w 12305293"/>
              <a:gd name="connsiteY865" fmla="*/ 2544116 h 3722511"/>
              <a:gd name="connsiteX866" fmla="*/ 3005140 w 12305293"/>
              <a:gd name="connsiteY866" fmla="*/ 2589868 h 3722511"/>
              <a:gd name="connsiteX867" fmla="*/ 2946144 w 12305293"/>
              <a:gd name="connsiteY867" fmla="*/ 2647821 h 3722511"/>
              <a:gd name="connsiteX868" fmla="*/ 2946144 w 12305293"/>
              <a:gd name="connsiteY868" fmla="*/ 3137771 h 3722511"/>
              <a:gd name="connsiteX869" fmla="*/ 2946144 w 12305293"/>
              <a:gd name="connsiteY869" fmla="*/ 3144925 h 3722511"/>
              <a:gd name="connsiteX870" fmla="*/ 2997042 w 12305293"/>
              <a:gd name="connsiteY870" fmla="*/ 3184576 h 3722511"/>
              <a:gd name="connsiteX871" fmla="*/ 2997042 w 12305293"/>
              <a:gd name="connsiteY871" fmla="*/ 3532239 h 3722511"/>
              <a:gd name="connsiteX872" fmla="*/ 2946144 w 12305293"/>
              <a:gd name="connsiteY872" fmla="*/ 3532239 h 3722511"/>
              <a:gd name="connsiteX873" fmla="*/ 2946144 w 12305293"/>
              <a:gd name="connsiteY873" fmla="*/ 3532240 h 3722511"/>
              <a:gd name="connsiteX874" fmla="*/ 3055361 w 12305293"/>
              <a:gd name="connsiteY874" fmla="*/ 3532240 h 3722511"/>
              <a:gd name="connsiteX875" fmla="*/ 3055361 w 12305293"/>
              <a:gd name="connsiteY875" fmla="*/ 3592565 h 3722511"/>
              <a:gd name="connsiteX876" fmla="*/ 3065098 w 12305293"/>
              <a:gd name="connsiteY876" fmla="*/ 3592565 h 3722511"/>
              <a:gd name="connsiteX877" fmla="*/ 3065098 w 12305293"/>
              <a:gd name="connsiteY877" fmla="*/ 3587748 h 3722511"/>
              <a:gd name="connsiteX878" fmla="*/ 3065098 w 12305293"/>
              <a:gd name="connsiteY878" fmla="*/ 3231684 h 3722511"/>
              <a:gd name="connsiteX879" fmla="*/ 3065098 w 12305293"/>
              <a:gd name="connsiteY879" fmla="*/ 3154414 h 3722511"/>
              <a:gd name="connsiteX880" fmla="*/ 3065066 w 12305293"/>
              <a:gd name="connsiteY880" fmla="*/ 3154414 h 3722511"/>
              <a:gd name="connsiteX881" fmla="*/ 3065066 w 12305293"/>
              <a:gd name="connsiteY881" fmla="*/ 3108531 h 3722511"/>
              <a:gd name="connsiteX882" fmla="*/ 3065098 w 12305293"/>
              <a:gd name="connsiteY882" fmla="*/ 3108531 h 3722511"/>
              <a:gd name="connsiteX883" fmla="*/ 3065098 w 12305293"/>
              <a:gd name="connsiteY883" fmla="*/ 3108528 h 3722511"/>
              <a:gd name="connsiteX884" fmla="*/ 3065098 w 12305293"/>
              <a:gd name="connsiteY884" fmla="*/ 3105391 h 3722511"/>
              <a:gd name="connsiteX885" fmla="*/ 3065098 w 12305293"/>
              <a:gd name="connsiteY885" fmla="*/ 3097246 h 3722511"/>
              <a:gd name="connsiteX886" fmla="*/ 3065098 w 12305293"/>
              <a:gd name="connsiteY886" fmla="*/ 3081388 h 3722511"/>
              <a:gd name="connsiteX887" fmla="*/ 3065066 w 12305293"/>
              <a:gd name="connsiteY887" fmla="*/ 3081388 h 3722511"/>
              <a:gd name="connsiteX888" fmla="*/ 3065066 w 12305293"/>
              <a:gd name="connsiteY888" fmla="*/ 3035574 h 3722511"/>
              <a:gd name="connsiteX889" fmla="*/ 3065098 w 12305293"/>
              <a:gd name="connsiteY889" fmla="*/ 3035574 h 3722511"/>
              <a:gd name="connsiteX890" fmla="*/ 3065098 w 12305293"/>
              <a:gd name="connsiteY890" fmla="*/ 3035572 h 3722511"/>
              <a:gd name="connsiteX891" fmla="*/ 3177531 w 12305293"/>
              <a:gd name="connsiteY891" fmla="*/ 3035572 h 3722511"/>
              <a:gd name="connsiteX892" fmla="*/ 3232896 w 12305293"/>
              <a:gd name="connsiteY892" fmla="*/ 3035572 h 3722511"/>
              <a:gd name="connsiteX893" fmla="*/ 3236004 w 12305293"/>
              <a:gd name="connsiteY893" fmla="*/ 3020303 h 3722511"/>
              <a:gd name="connsiteX894" fmla="*/ 3252598 w 12305293"/>
              <a:gd name="connsiteY894" fmla="*/ 2975501 h 3722511"/>
              <a:gd name="connsiteX895" fmla="*/ 3263525 w 12305293"/>
              <a:gd name="connsiteY895" fmla="*/ 2942132 h 3722511"/>
              <a:gd name="connsiteX896" fmla="*/ 3266370 w 12305293"/>
              <a:gd name="connsiteY896" fmla="*/ 2938321 h 3722511"/>
              <a:gd name="connsiteX897" fmla="*/ 3268299 w 12305293"/>
              <a:gd name="connsiteY897" fmla="*/ 2933115 h 3722511"/>
              <a:gd name="connsiteX898" fmla="*/ 3296802 w 12305293"/>
              <a:gd name="connsiteY898" fmla="*/ 2897562 h 3722511"/>
              <a:gd name="connsiteX899" fmla="*/ 3319180 w 12305293"/>
              <a:gd name="connsiteY899" fmla="*/ 2867590 h 3722511"/>
              <a:gd name="connsiteX900" fmla="*/ 3323712 w 12305293"/>
              <a:gd name="connsiteY900" fmla="*/ 2863997 h 3722511"/>
              <a:gd name="connsiteX901" fmla="*/ 3324197 w 12305293"/>
              <a:gd name="connsiteY901" fmla="*/ 2863393 h 3722511"/>
              <a:gd name="connsiteX902" fmla="*/ 3325509 w 12305293"/>
              <a:gd name="connsiteY902" fmla="*/ 2862572 h 3722511"/>
              <a:gd name="connsiteX903" fmla="*/ 3354767 w 12305293"/>
              <a:gd name="connsiteY903" fmla="*/ 2839375 h 3722511"/>
              <a:gd name="connsiteX904" fmla="*/ 3394651 w 12305293"/>
              <a:gd name="connsiteY904" fmla="*/ 2818246 h 3722511"/>
              <a:gd name="connsiteX905" fmla="*/ 3398079 w 12305293"/>
              <a:gd name="connsiteY905" fmla="*/ 2817202 h 3722511"/>
              <a:gd name="connsiteX906" fmla="*/ 3398161 w 12305293"/>
              <a:gd name="connsiteY906" fmla="*/ 2817150 h 3722511"/>
              <a:gd name="connsiteX907" fmla="*/ 3401255 w 12305293"/>
              <a:gd name="connsiteY907" fmla="*/ 2816234 h 3722511"/>
              <a:gd name="connsiteX908" fmla="*/ 3438177 w 12305293"/>
              <a:gd name="connsiteY908" fmla="*/ 2804991 h 3722511"/>
              <a:gd name="connsiteX909" fmla="*/ 3439784 w 12305293"/>
              <a:gd name="connsiteY909" fmla="*/ 2804832 h 3722511"/>
              <a:gd name="connsiteX910" fmla="*/ 3440188 w 12305293"/>
              <a:gd name="connsiteY910" fmla="*/ 2804713 h 3722511"/>
              <a:gd name="connsiteX911" fmla="*/ 3484655 w 12305293"/>
              <a:gd name="connsiteY911" fmla="*/ 2800400 h 3722511"/>
              <a:gd name="connsiteX912" fmla="*/ 3484655 w 12305293"/>
              <a:gd name="connsiteY912" fmla="*/ 2800401 h 3722511"/>
              <a:gd name="connsiteX913" fmla="*/ 3484691 w 12305293"/>
              <a:gd name="connsiteY913" fmla="*/ 2800398 h 3722511"/>
              <a:gd name="connsiteX914" fmla="*/ 3733345 w 12305293"/>
              <a:gd name="connsiteY914" fmla="*/ 3035572 h 3722511"/>
              <a:gd name="connsiteX915" fmla="*/ 3847868 w 12305293"/>
              <a:gd name="connsiteY915" fmla="*/ 3035572 h 3722511"/>
              <a:gd name="connsiteX916" fmla="*/ 3883174 w 12305293"/>
              <a:gd name="connsiteY916" fmla="*/ 3035572 h 3722511"/>
              <a:gd name="connsiteX917" fmla="*/ 3883174 w 12305293"/>
              <a:gd name="connsiteY917" fmla="*/ 2983115 h 3722511"/>
              <a:gd name="connsiteX918" fmla="*/ 3883174 w 12305293"/>
              <a:gd name="connsiteY918" fmla="*/ 2968827 h 3722511"/>
              <a:gd name="connsiteX919" fmla="*/ 3883174 w 12305293"/>
              <a:gd name="connsiteY919" fmla="*/ 2897387 h 3722511"/>
              <a:gd name="connsiteX920" fmla="*/ 3883174 w 12305293"/>
              <a:gd name="connsiteY920" fmla="*/ 2883099 h 3722511"/>
              <a:gd name="connsiteX921" fmla="*/ 3883174 w 12305293"/>
              <a:gd name="connsiteY921" fmla="*/ 2813247 h 3722511"/>
              <a:gd name="connsiteX922" fmla="*/ 3883174 w 12305293"/>
              <a:gd name="connsiteY922" fmla="*/ 2797371 h 3722511"/>
              <a:gd name="connsiteX923" fmla="*/ 3883174 w 12305293"/>
              <a:gd name="connsiteY923" fmla="*/ 2727519 h 3722511"/>
              <a:gd name="connsiteX924" fmla="*/ 3883174 w 12305293"/>
              <a:gd name="connsiteY924" fmla="*/ 2711643 h 3722511"/>
              <a:gd name="connsiteX925" fmla="*/ 3883174 w 12305293"/>
              <a:gd name="connsiteY925" fmla="*/ 2641791 h 3722511"/>
              <a:gd name="connsiteX926" fmla="*/ 3883174 w 12305293"/>
              <a:gd name="connsiteY926" fmla="*/ 2625915 h 3722511"/>
              <a:gd name="connsiteX927" fmla="*/ 3883174 w 12305293"/>
              <a:gd name="connsiteY927" fmla="*/ 2556063 h 3722511"/>
              <a:gd name="connsiteX928" fmla="*/ 3883174 w 12305293"/>
              <a:gd name="connsiteY928" fmla="*/ 2541775 h 3722511"/>
              <a:gd name="connsiteX929" fmla="*/ 3883196 w 12305293"/>
              <a:gd name="connsiteY929" fmla="*/ 2541775 h 3722511"/>
              <a:gd name="connsiteX930" fmla="*/ 3883196 w 12305293"/>
              <a:gd name="connsiteY930" fmla="*/ 2541774 h 3722511"/>
              <a:gd name="connsiteX931" fmla="*/ 3883174 w 12305293"/>
              <a:gd name="connsiteY931" fmla="*/ 2541774 h 3722511"/>
              <a:gd name="connsiteX932" fmla="*/ 3883174 w 12305293"/>
              <a:gd name="connsiteY932" fmla="*/ 2471922 h 3722511"/>
              <a:gd name="connsiteX933" fmla="*/ 3883174 w 12305293"/>
              <a:gd name="connsiteY933" fmla="*/ 2456046 h 3722511"/>
              <a:gd name="connsiteX934" fmla="*/ 3883174 w 12305293"/>
              <a:gd name="connsiteY934" fmla="*/ 2386194 h 3722511"/>
              <a:gd name="connsiteX935" fmla="*/ 3883174 w 12305293"/>
              <a:gd name="connsiteY935" fmla="*/ 2370318 h 3722511"/>
              <a:gd name="connsiteX936" fmla="*/ 3883174 w 12305293"/>
              <a:gd name="connsiteY936" fmla="*/ 2300466 h 3722511"/>
              <a:gd name="connsiteX937" fmla="*/ 3883174 w 12305293"/>
              <a:gd name="connsiteY937" fmla="*/ 2284590 h 3722511"/>
              <a:gd name="connsiteX938" fmla="*/ 3883174 w 12305293"/>
              <a:gd name="connsiteY938" fmla="*/ 2214738 h 3722511"/>
              <a:gd name="connsiteX939" fmla="*/ 3883174 w 12305293"/>
              <a:gd name="connsiteY939" fmla="*/ 2200450 h 3722511"/>
              <a:gd name="connsiteX940" fmla="*/ 3883174 w 12305293"/>
              <a:gd name="connsiteY940" fmla="*/ 2129010 h 3722511"/>
              <a:gd name="connsiteX941" fmla="*/ 3883174 w 12305293"/>
              <a:gd name="connsiteY941" fmla="*/ 2114722 h 3722511"/>
              <a:gd name="connsiteX942" fmla="*/ 3883196 w 12305293"/>
              <a:gd name="connsiteY942" fmla="*/ 2114722 h 3722511"/>
              <a:gd name="connsiteX943" fmla="*/ 3883196 w 12305293"/>
              <a:gd name="connsiteY943" fmla="*/ 2114721 h 3722511"/>
              <a:gd name="connsiteX944" fmla="*/ 3883174 w 12305293"/>
              <a:gd name="connsiteY944" fmla="*/ 2114721 h 3722511"/>
              <a:gd name="connsiteX945" fmla="*/ 3883174 w 12305293"/>
              <a:gd name="connsiteY945" fmla="*/ 2044870 h 3722511"/>
              <a:gd name="connsiteX946" fmla="*/ 3883174 w 12305293"/>
              <a:gd name="connsiteY946" fmla="*/ 2044869 h 3722511"/>
              <a:gd name="connsiteX947" fmla="*/ 3883174 w 12305293"/>
              <a:gd name="connsiteY947" fmla="*/ 2028994 h 3722511"/>
              <a:gd name="connsiteX948" fmla="*/ 3883196 w 12305293"/>
              <a:gd name="connsiteY948" fmla="*/ 2028994 h 3722511"/>
              <a:gd name="connsiteX949" fmla="*/ 3883196 w 12305293"/>
              <a:gd name="connsiteY949" fmla="*/ 2028993 h 3722511"/>
              <a:gd name="connsiteX950" fmla="*/ 3883174 w 12305293"/>
              <a:gd name="connsiteY950" fmla="*/ 2028993 h 3722511"/>
              <a:gd name="connsiteX951" fmla="*/ 3883174 w 12305293"/>
              <a:gd name="connsiteY951" fmla="*/ 1959142 h 3722511"/>
              <a:gd name="connsiteX952" fmla="*/ 3883174 w 12305293"/>
              <a:gd name="connsiteY952" fmla="*/ 1959141 h 3722511"/>
              <a:gd name="connsiteX953" fmla="*/ 3883174 w 12305293"/>
              <a:gd name="connsiteY953" fmla="*/ 1943266 h 3722511"/>
              <a:gd name="connsiteX954" fmla="*/ 3883174 w 12305293"/>
              <a:gd name="connsiteY954" fmla="*/ 1873414 h 3722511"/>
              <a:gd name="connsiteX955" fmla="*/ 3883174 w 12305293"/>
              <a:gd name="connsiteY955" fmla="*/ 1873413 h 3722511"/>
              <a:gd name="connsiteX956" fmla="*/ 3883174 w 12305293"/>
              <a:gd name="connsiteY956" fmla="*/ 1857538 h 3722511"/>
              <a:gd name="connsiteX957" fmla="*/ 3883174 w 12305293"/>
              <a:gd name="connsiteY957" fmla="*/ 1787685 h 3722511"/>
              <a:gd name="connsiteX958" fmla="*/ 3883174 w 12305293"/>
              <a:gd name="connsiteY958" fmla="*/ 1773397 h 3722511"/>
              <a:gd name="connsiteX959" fmla="*/ 3883174 w 12305293"/>
              <a:gd name="connsiteY959" fmla="*/ 1703545 h 3722511"/>
              <a:gd name="connsiteX960" fmla="*/ 3883174 w 12305293"/>
              <a:gd name="connsiteY960" fmla="*/ 1687669 h 3722511"/>
              <a:gd name="connsiteX961" fmla="*/ 3883174 w 12305293"/>
              <a:gd name="connsiteY961" fmla="*/ 1617817 h 3722511"/>
              <a:gd name="connsiteX962" fmla="*/ 3883174 w 12305293"/>
              <a:gd name="connsiteY962" fmla="*/ 1601941 h 3722511"/>
              <a:gd name="connsiteX963" fmla="*/ 3883174 w 12305293"/>
              <a:gd name="connsiteY963" fmla="*/ 1532089 h 3722511"/>
              <a:gd name="connsiteX964" fmla="*/ 3883174 w 12305293"/>
              <a:gd name="connsiteY964" fmla="*/ 1532088 h 3722511"/>
              <a:gd name="connsiteX965" fmla="*/ 3883174 w 12305293"/>
              <a:gd name="connsiteY965" fmla="*/ 1516213 h 3722511"/>
              <a:gd name="connsiteX966" fmla="*/ 3883174 w 12305293"/>
              <a:gd name="connsiteY966" fmla="*/ 1446361 h 3722511"/>
              <a:gd name="connsiteX967" fmla="*/ 3883174 w 12305293"/>
              <a:gd name="connsiteY967" fmla="*/ 1446360 h 3722511"/>
              <a:gd name="connsiteX968" fmla="*/ 3883174 w 12305293"/>
              <a:gd name="connsiteY968" fmla="*/ 1432073 h 3722511"/>
              <a:gd name="connsiteX969" fmla="*/ 3883196 w 12305293"/>
              <a:gd name="connsiteY969" fmla="*/ 1432073 h 3722511"/>
              <a:gd name="connsiteX970" fmla="*/ 3883196 w 12305293"/>
              <a:gd name="connsiteY970" fmla="*/ 1432072 h 3722511"/>
              <a:gd name="connsiteX971" fmla="*/ 3883174 w 12305293"/>
              <a:gd name="connsiteY971" fmla="*/ 1432072 h 3722511"/>
              <a:gd name="connsiteX972" fmla="*/ 3883174 w 12305293"/>
              <a:gd name="connsiteY972" fmla="*/ 1376508 h 3722511"/>
              <a:gd name="connsiteX973" fmla="*/ 3883174 w 12305293"/>
              <a:gd name="connsiteY973" fmla="*/ 1349520 h 3722511"/>
              <a:gd name="connsiteX974" fmla="*/ 3883196 w 12305293"/>
              <a:gd name="connsiteY974" fmla="*/ 1349520 h 3722511"/>
              <a:gd name="connsiteX975" fmla="*/ 3883196 w 12305293"/>
              <a:gd name="connsiteY975" fmla="*/ 1349421 h 3722511"/>
              <a:gd name="connsiteX976" fmla="*/ 3951218 w 12305293"/>
              <a:gd name="connsiteY976" fmla="*/ 1349421 h 3722511"/>
              <a:gd name="connsiteX977" fmla="*/ 3951218 w 12305293"/>
              <a:gd name="connsiteY977" fmla="*/ 1257441 h 3722511"/>
              <a:gd name="connsiteX978" fmla="*/ 3951218 w 12305293"/>
              <a:gd name="connsiteY978" fmla="*/ 1230453 h 3722511"/>
              <a:gd name="connsiteX979" fmla="*/ 3951239 w 12305293"/>
              <a:gd name="connsiteY979" fmla="*/ 1230453 h 3722511"/>
              <a:gd name="connsiteX980" fmla="*/ 3951239 w 12305293"/>
              <a:gd name="connsiteY980" fmla="*/ 1230359 h 3722511"/>
              <a:gd name="connsiteX981" fmla="*/ 4007942 w 12305293"/>
              <a:gd name="connsiteY981" fmla="*/ 1230359 h 3722511"/>
              <a:gd name="connsiteX982" fmla="*/ 4010692 w 12305293"/>
              <a:gd name="connsiteY982" fmla="*/ 1226414 h 3722511"/>
              <a:gd name="connsiteX983" fmla="*/ 4137527 w 12305293"/>
              <a:gd name="connsiteY983" fmla="*/ 1041534 h 3722511"/>
              <a:gd name="connsiteX984" fmla="*/ 4139543 w 12305293"/>
              <a:gd name="connsiteY984" fmla="*/ 1041534 h 3722511"/>
              <a:gd name="connsiteX985" fmla="*/ 4139543 w 12305293"/>
              <a:gd name="connsiteY985" fmla="*/ 1041533 h 3722511"/>
              <a:gd name="connsiteX986" fmla="*/ 4137527 w 12305293"/>
              <a:gd name="connsiteY986" fmla="*/ 1041533 h 3722511"/>
              <a:gd name="connsiteX987" fmla="*/ 4095405 w 12305293"/>
              <a:gd name="connsiteY987" fmla="*/ 1041533 h 3722511"/>
              <a:gd name="connsiteX988" fmla="*/ 4095405 w 12305293"/>
              <a:gd name="connsiteY988" fmla="*/ 992319 h 3722511"/>
              <a:gd name="connsiteX989" fmla="*/ 4095426 w 12305293"/>
              <a:gd name="connsiteY989" fmla="*/ 992319 h 3722511"/>
              <a:gd name="connsiteX990" fmla="*/ 4095426 w 12305293"/>
              <a:gd name="connsiteY990" fmla="*/ 992233 h 3722511"/>
              <a:gd name="connsiteX991" fmla="*/ 4178028 w 12305293"/>
              <a:gd name="connsiteY991" fmla="*/ 992233 h 3722511"/>
              <a:gd name="connsiteX992" fmla="*/ 4178028 w 12305293"/>
              <a:gd name="connsiteY992" fmla="*/ 990454 h 3722511"/>
              <a:gd name="connsiteX993" fmla="*/ 4178028 w 12305293"/>
              <a:gd name="connsiteY993" fmla="*/ 858349 h 3722511"/>
              <a:gd name="connsiteX994" fmla="*/ 4178051 w 12305293"/>
              <a:gd name="connsiteY994" fmla="*/ 858349 h 3722511"/>
              <a:gd name="connsiteX995" fmla="*/ 4178051 w 12305293"/>
              <a:gd name="connsiteY995" fmla="*/ 857377 h 3722511"/>
              <a:gd name="connsiteX996" fmla="*/ 4178029 w 12305293"/>
              <a:gd name="connsiteY996" fmla="*/ 857377 h 3722511"/>
              <a:gd name="connsiteX997" fmla="*/ 4153727 w 12305293"/>
              <a:gd name="connsiteY997" fmla="*/ 857377 h 3722511"/>
              <a:gd name="connsiteX998" fmla="*/ 4153727 w 12305293"/>
              <a:gd name="connsiteY998" fmla="*/ 836739 h 3722511"/>
              <a:gd name="connsiteX999" fmla="*/ 4153749 w 12305293"/>
              <a:gd name="connsiteY999" fmla="*/ 836739 h 3722511"/>
              <a:gd name="connsiteX1000" fmla="*/ 4153749 w 12305293"/>
              <a:gd name="connsiteY1000" fmla="*/ 836658 h 3722511"/>
              <a:gd name="connsiteX1001" fmla="*/ 4178028 w 12305293"/>
              <a:gd name="connsiteY1001" fmla="*/ 836658 h 3722511"/>
              <a:gd name="connsiteX1002" fmla="*/ 4178028 w 12305293"/>
              <a:gd name="connsiteY1002" fmla="*/ 834616 h 3722511"/>
              <a:gd name="connsiteX1003" fmla="*/ 4178028 w 12305293"/>
              <a:gd name="connsiteY1003" fmla="*/ 684497 h 3722511"/>
              <a:gd name="connsiteX1004" fmla="*/ 4178051 w 12305293"/>
              <a:gd name="connsiteY1004" fmla="*/ 684497 h 3722511"/>
              <a:gd name="connsiteX1005" fmla="*/ 4178051 w 12305293"/>
              <a:gd name="connsiteY1005" fmla="*/ 684333 h 3722511"/>
              <a:gd name="connsiteX1006" fmla="*/ 4178029 w 12305293"/>
              <a:gd name="connsiteY1006" fmla="*/ 684333 h 3722511"/>
              <a:gd name="connsiteX1007" fmla="*/ 4153727 w 12305293"/>
              <a:gd name="connsiteY1007" fmla="*/ 684333 h 3722511"/>
              <a:gd name="connsiteX1008" fmla="*/ 4153727 w 12305293"/>
              <a:gd name="connsiteY1008" fmla="*/ 663695 h 3722511"/>
              <a:gd name="connsiteX1009" fmla="*/ 4153749 w 12305293"/>
              <a:gd name="connsiteY1009" fmla="*/ 663695 h 3722511"/>
              <a:gd name="connsiteX1010" fmla="*/ 4153749 w 12305293"/>
              <a:gd name="connsiteY1010" fmla="*/ 663620 h 3722511"/>
              <a:gd name="connsiteX1011" fmla="*/ 4178051 w 12305293"/>
              <a:gd name="connsiteY1011" fmla="*/ 663620 h 3722511"/>
              <a:gd name="connsiteX1012" fmla="*/ 4178051 w 12305293"/>
              <a:gd name="connsiteY1012" fmla="*/ 663147 h 3722511"/>
              <a:gd name="connsiteX1013" fmla="*/ 4178028 w 12305293"/>
              <a:gd name="connsiteY1013" fmla="*/ 663147 h 3722511"/>
              <a:gd name="connsiteX1014" fmla="*/ 4178028 w 12305293"/>
              <a:gd name="connsiteY1014" fmla="*/ 560982 h 3722511"/>
              <a:gd name="connsiteX1015" fmla="*/ 4178028 w 12305293"/>
              <a:gd name="connsiteY1015" fmla="*/ 511290 h 3722511"/>
              <a:gd name="connsiteX1016" fmla="*/ 4153727 w 12305293"/>
              <a:gd name="connsiteY1016" fmla="*/ 511290 h 3722511"/>
              <a:gd name="connsiteX1017" fmla="*/ 4153727 w 12305293"/>
              <a:gd name="connsiteY1017" fmla="*/ 489064 h 3722511"/>
              <a:gd name="connsiteX1018" fmla="*/ 4153749 w 12305293"/>
              <a:gd name="connsiteY1018" fmla="*/ 489064 h 3722511"/>
              <a:gd name="connsiteX1019" fmla="*/ 4153749 w 12305293"/>
              <a:gd name="connsiteY1019" fmla="*/ 488994 h 3722511"/>
              <a:gd name="connsiteX1020" fmla="*/ 4178028 w 12305293"/>
              <a:gd name="connsiteY1020" fmla="*/ 488994 h 3722511"/>
              <a:gd name="connsiteX1021" fmla="*/ 4178028 w 12305293"/>
              <a:gd name="connsiteY1021" fmla="*/ 486864 h 3722511"/>
              <a:gd name="connsiteX1022" fmla="*/ 4178028 w 12305293"/>
              <a:gd name="connsiteY1022" fmla="*/ 333743 h 3722511"/>
              <a:gd name="connsiteX1023" fmla="*/ 4178051 w 12305293"/>
              <a:gd name="connsiteY1023" fmla="*/ 333743 h 3722511"/>
              <a:gd name="connsiteX1024" fmla="*/ 4178051 w 12305293"/>
              <a:gd name="connsiteY1024" fmla="*/ 333483 h 3722511"/>
              <a:gd name="connsiteX1025" fmla="*/ 4178029 w 12305293"/>
              <a:gd name="connsiteY1025" fmla="*/ 333483 h 3722511"/>
              <a:gd name="connsiteX1026" fmla="*/ 4153727 w 12305293"/>
              <a:gd name="connsiteY1026" fmla="*/ 333483 h 3722511"/>
              <a:gd name="connsiteX1027" fmla="*/ 4153727 w 12305293"/>
              <a:gd name="connsiteY1027" fmla="*/ 316020 h 3722511"/>
              <a:gd name="connsiteX1028" fmla="*/ 4153749 w 12305293"/>
              <a:gd name="connsiteY1028" fmla="*/ 316020 h 3722511"/>
              <a:gd name="connsiteX1029" fmla="*/ 4153749 w 12305293"/>
              <a:gd name="connsiteY1029" fmla="*/ 315956 h 3722511"/>
              <a:gd name="connsiteX1030" fmla="*/ 4178051 w 12305293"/>
              <a:gd name="connsiteY1030" fmla="*/ 315956 h 3722511"/>
              <a:gd name="connsiteX1031" fmla="*/ 4178051 w 12305293"/>
              <a:gd name="connsiteY1031" fmla="*/ 315443 h 3722511"/>
              <a:gd name="connsiteX1032" fmla="*/ 4178028 w 12305293"/>
              <a:gd name="connsiteY1032" fmla="*/ 315443 h 3722511"/>
              <a:gd name="connsiteX1033" fmla="*/ 4178028 w 12305293"/>
              <a:gd name="connsiteY1033" fmla="*/ 233092 h 3722511"/>
              <a:gd name="connsiteX1034" fmla="*/ 4178051 w 12305293"/>
              <a:gd name="connsiteY1034" fmla="*/ 233071 h 3722511"/>
              <a:gd name="connsiteX1035" fmla="*/ 4178051 w 12305293"/>
              <a:gd name="connsiteY1035" fmla="*/ 233031 h 3722511"/>
              <a:gd name="connsiteX1036" fmla="*/ 4187771 w 12305293"/>
              <a:gd name="connsiteY1036" fmla="*/ 223881 h 3722511"/>
              <a:gd name="connsiteX1037" fmla="*/ 8553199 w 12305293"/>
              <a:gd name="connsiteY1037" fmla="*/ 0 h 3722511"/>
              <a:gd name="connsiteX1038" fmla="*/ 8580741 w 12305293"/>
              <a:gd name="connsiteY1038" fmla="*/ 0 h 3722511"/>
              <a:gd name="connsiteX1039" fmla="*/ 8580741 w 12305293"/>
              <a:gd name="connsiteY1039" fmla="*/ 163512 h 3722511"/>
              <a:gd name="connsiteX1040" fmla="*/ 8608282 w 12305293"/>
              <a:gd name="connsiteY1040" fmla="*/ 163512 h 3722511"/>
              <a:gd name="connsiteX1041" fmla="*/ 8608282 w 12305293"/>
              <a:gd name="connsiteY1041" fmla="*/ 163513 h 3722511"/>
              <a:gd name="connsiteX1042" fmla="*/ 8608282 w 12305293"/>
              <a:gd name="connsiteY1042" fmla="*/ 290512 h 3722511"/>
              <a:gd name="connsiteX1043" fmla="*/ 8608282 w 12305293"/>
              <a:gd name="connsiteY1043" fmla="*/ 301625 h 3722511"/>
              <a:gd name="connsiteX1044" fmla="*/ 8608282 w 12305293"/>
              <a:gd name="connsiteY1044" fmla="*/ 427037 h 3722511"/>
              <a:gd name="connsiteX1045" fmla="*/ 8634203 w 12305293"/>
              <a:gd name="connsiteY1045" fmla="*/ 427037 h 3722511"/>
              <a:gd name="connsiteX1046" fmla="*/ 8634203 w 12305293"/>
              <a:gd name="connsiteY1046" fmla="*/ 549275 h 3722511"/>
              <a:gd name="connsiteX1047" fmla="*/ 8634203 w 12305293"/>
              <a:gd name="connsiteY1047" fmla="*/ 755650 h 3722511"/>
              <a:gd name="connsiteX1048" fmla="*/ 8637443 w 12305293"/>
              <a:gd name="connsiteY1048" fmla="*/ 755650 h 3722511"/>
              <a:gd name="connsiteX1049" fmla="*/ 8655264 w 12305293"/>
              <a:gd name="connsiteY1049" fmla="*/ 755650 h 3722511"/>
              <a:gd name="connsiteX1050" fmla="*/ 8655265 w 12305293"/>
              <a:gd name="connsiteY1050" fmla="*/ 755650 h 3722511"/>
              <a:gd name="connsiteX1051" fmla="*/ 8655265 w 12305293"/>
              <a:gd name="connsiteY1051" fmla="*/ 933450 h 3722511"/>
              <a:gd name="connsiteX1052" fmla="*/ 8655265 w 12305293"/>
              <a:gd name="connsiteY1052" fmla="*/ 1084262 h 3722511"/>
              <a:gd name="connsiteX1053" fmla="*/ 8656884 w 12305293"/>
              <a:gd name="connsiteY1053" fmla="*/ 1084262 h 3722511"/>
              <a:gd name="connsiteX1054" fmla="*/ 8716827 w 12305293"/>
              <a:gd name="connsiteY1054" fmla="*/ 1084262 h 3722511"/>
              <a:gd name="connsiteX1055" fmla="*/ 8716827 w 12305293"/>
              <a:gd name="connsiteY1055" fmla="*/ 1084263 h 3722511"/>
              <a:gd name="connsiteX1056" fmla="*/ 8711967 w 12305293"/>
              <a:gd name="connsiteY1056" fmla="*/ 1447800 h 3722511"/>
              <a:gd name="connsiteX1057" fmla="*/ 8711967 w 12305293"/>
              <a:gd name="connsiteY1057" fmla="*/ 1460500 h 3722511"/>
              <a:gd name="connsiteX1058" fmla="*/ 8711967 w 12305293"/>
              <a:gd name="connsiteY1058" fmla="*/ 1757362 h 3722511"/>
              <a:gd name="connsiteX1059" fmla="*/ 8778390 w 12305293"/>
              <a:gd name="connsiteY1059" fmla="*/ 1757362 h 3722511"/>
              <a:gd name="connsiteX1060" fmla="*/ 8778390 w 12305293"/>
              <a:gd name="connsiteY1060" fmla="*/ 2146891 h 3722511"/>
              <a:gd name="connsiteX1061" fmla="*/ 8780899 w 12305293"/>
              <a:gd name="connsiteY1061" fmla="*/ 2146891 h 3722511"/>
              <a:gd name="connsiteX1062" fmla="*/ 8980115 w 12305293"/>
              <a:gd name="connsiteY1062" fmla="*/ 2146891 h 3722511"/>
              <a:gd name="connsiteX1063" fmla="*/ 8980115 w 12305293"/>
              <a:gd name="connsiteY1063" fmla="*/ 2586156 h 3722511"/>
              <a:gd name="connsiteX1064" fmla="*/ 9033913 w 12305293"/>
              <a:gd name="connsiteY1064" fmla="*/ 2586156 h 3722511"/>
              <a:gd name="connsiteX1065" fmla="*/ 9033913 w 12305293"/>
              <a:gd name="connsiteY1065" fmla="*/ 2960159 h 3722511"/>
              <a:gd name="connsiteX1066" fmla="*/ 9005734 w 12305293"/>
              <a:gd name="connsiteY1066" fmla="*/ 2960159 h 3722511"/>
              <a:gd name="connsiteX1067" fmla="*/ 9005734 w 12305293"/>
              <a:gd name="connsiteY1067" fmla="*/ 2960611 h 3722511"/>
              <a:gd name="connsiteX1068" fmla="*/ 9034385 w 12305293"/>
              <a:gd name="connsiteY1068" fmla="*/ 2960611 h 3722511"/>
              <a:gd name="connsiteX1069" fmla="*/ 9034385 w 12305293"/>
              <a:gd name="connsiteY1069" fmla="*/ 1425611 h 3722511"/>
              <a:gd name="connsiteX1070" fmla="*/ 9034496 w 12305293"/>
              <a:gd name="connsiteY1070" fmla="*/ 1425611 h 3722511"/>
              <a:gd name="connsiteX1071" fmla="*/ 9034496 w 12305293"/>
              <a:gd name="connsiteY1071" fmla="*/ 1402557 h 3722511"/>
              <a:gd name="connsiteX1072" fmla="*/ 9034385 w 12305293"/>
              <a:gd name="connsiteY1072" fmla="*/ 1401799 h 3722511"/>
              <a:gd name="connsiteX1073" fmla="*/ 9034496 w 12305293"/>
              <a:gd name="connsiteY1073" fmla="*/ 1400931 h 3722511"/>
              <a:gd name="connsiteX1074" fmla="*/ 9034496 w 12305293"/>
              <a:gd name="connsiteY1074" fmla="*/ 1377994 h 3722511"/>
              <a:gd name="connsiteX1075" fmla="*/ 9037436 w 12305293"/>
              <a:gd name="connsiteY1075" fmla="*/ 1377994 h 3722511"/>
              <a:gd name="connsiteX1076" fmla="*/ 9046280 w 12305293"/>
              <a:gd name="connsiteY1076" fmla="*/ 1309006 h 3722511"/>
              <a:gd name="connsiteX1077" fmla="*/ 9190908 w 12305293"/>
              <a:gd name="connsiteY1077" fmla="*/ 1137403 h 3722511"/>
              <a:gd name="connsiteX1078" fmla="*/ 9207733 w 12305293"/>
              <a:gd name="connsiteY1078" fmla="*/ 1135068 h 3722511"/>
              <a:gd name="connsiteX1079" fmla="*/ 9207733 w 12305293"/>
              <a:gd name="connsiteY1079" fmla="*/ 893792 h 3722511"/>
              <a:gd name="connsiteX1080" fmla="*/ 9251476 w 12305293"/>
              <a:gd name="connsiteY1080" fmla="*/ 893792 h 3722511"/>
              <a:gd name="connsiteX1081" fmla="*/ 9251476 w 12305293"/>
              <a:gd name="connsiteY1081" fmla="*/ 1134843 h 3722511"/>
              <a:gd name="connsiteX1082" fmla="*/ 9269921 w 12305293"/>
              <a:gd name="connsiteY1082" fmla="*/ 1137403 h 3722511"/>
              <a:gd name="connsiteX1083" fmla="*/ 9414549 w 12305293"/>
              <a:gd name="connsiteY1083" fmla="*/ 1309006 h 3722511"/>
              <a:gd name="connsiteX1084" fmla="*/ 9423392 w 12305293"/>
              <a:gd name="connsiteY1084" fmla="*/ 1377994 h 3722511"/>
              <a:gd name="connsiteX1085" fmla="*/ 9426562 w 12305293"/>
              <a:gd name="connsiteY1085" fmla="*/ 1377994 h 3722511"/>
              <a:gd name="connsiteX1086" fmla="*/ 9426562 w 12305293"/>
              <a:gd name="connsiteY1086" fmla="*/ 1425620 h 3722511"/>
              <a:gd name="connsiteX1087" fmla="*/ 9426444 w 12305293"/>
              <a:gd name="connsiteY1087" fmla="*/ 1425620 h 3722511"/>
              <a:gd name="connsiteX1088" fmla="*/ 9426444 w 12305293"/>
              <a:gd name="connsiteY1088" fmla="*/ 2312557 h 3722511"/>
              <a:gd name="connsiteX1089" fmla="*/ 9427505 w 12305293"/>
              <a:gd name="connsiteY1089" fmla="*/ 2312557 h 3722511"/>
              <a:gd name="connsiteX1090" fmla="*/ 9530896 w 12305293"/>
              <a:gd name="connsiteY1090" fmla="*/ 2312557 h 3722511"/>
              <a:gd name="connsiteX1091" fmla="*/ 9530896 w 12305293"/>
              <a:gd name="connsiteY1091" fmla="*/ 2960159 h 3722511"/>
              <a:gd name="connsiteX1092" fmla="*/ 9486586 w 12305293"/>
              <a:gd name="connsiteY1092" fmla="*/ 2960159 h 3722511"/>
              <a:gd name="connsiteX1093" fmla="*/ 9426444 w 12305293"/>
              <a:gd name="connsiteY1093" fmla="*/ 2960159 h 3722511"/>
              <a:gd name="connsiteX1094" fmla="*/ 9426444 w 12305293"/>
              <a:gd name="connsiteY1094" fmla="*/ 2960611 h 3722511"/>
              <a:gd name="connsiteX1095" fmla="*/ 9531754 w 12305293"/>
              <a:gd name="connsiteY1095" fmla="*/ 2960611 h 3722511"/>
              <a:gd name="connsiteX1096" fmla="*/ 9531754 w 12305293"/>
              <a:gd name="connsiteY1096" fmla="*/ 2932037 h 3722511"/>
              <a:gd name="connsiteX1097" fmla="*/ 9531754 w 12305293"/>
              <a:gd name="connsiteY1097" fmla="*/ 2909812 h 3722511"/>
              <a:gd name="connsiteX1098" fmla="*/ 9531754 w 12305293"/>
              <a:gd name="connsiteY1098" fmla="*/ 2874887 h 3722511"/>
              <a:gd name="connsiteX1099" fmla="*/ 9531754 w 12305293"/>
              <a:gd name="connsiteY1099" fmla="*/ 2854250 h 3722511"/>
              <a:gd name="connsiteX1100" fmla="*/ 9531754 w 12305293"/>
              <a:gd name="connsiteY1100" fmla="*/ 2817738 h 3722511"/>
              <a:gd name="connsiteX1101" fmla="*/ 9531754 w 12305293"/>
              <a:gd name="connsiteY1101" fmla="*/ 2797101 h 3722511"/>
              <a:gd name="connsiteX1102" fmla="*/ 9531754 w 12305293"/>
              <a:gd name="connsiteY1102" fmla="*/ 2759002 h 3722511"/>
              <a:gd name="connsiteX1103" fmla="*/ 9531754 w 12305293"/>
              <a:gd name="connsiteY1103" fmla="*/ 2739952 h 3722511"/>
              <a:gd name="connsiteX1104" fmla="*/ 9531754 w 12305293"/>
              <a:gd name="connsiteY1104" fmla="*/ 2701853 h 3722511"/>
              <a:gd name="connsiteX1105" fmla="*/ 9531754 w 12305293"/>
              <a:gd name="connsiteY1105" fmla="*/ 2681216 h 3722511"/>
              <a:gd name="connsiteX1106" fmla="*/ 9531754 w 12305293"/>
              <a:gd name="connsiteY1106" fmla="*/ 2643117 h 3722511"/>
              <a:gd name="connsiteX1107" fmla="*/ 9531754 w 12305293"/>
              <a:gd name="connsiteY1107" fmla="*/ 2624067 h 3722511"/>
              <a:gd name="connsiteX1108" fmla="*/ 9531754 w 12305293"/>
              <a:gd name="connsiteY1108" fmla="*/ 2585967 h 3722511"/>
              <a:gd name="connsiteX1109" fmla="*/ 9531754 w 12305293"/>
              <a:gd name="connsiteY1109" fmla="*/ 2565330 h 3722511"/>
              <a:gd name="connsiteX1110" fmla="*/ 9531754 w 12305293"/>
              <a:gd name="connsiteY1110" fmla="*/ 2528818 h 3722511"/>
              <a:gd name="connsiteX1111" fmla="*/ 9531754 w 12305293"/>
              <a:gd name="connsiteY1111" fmla="*/ 2508181 h 3722511"/>
              <a:gd name="connsiteX1112" fmla="*/ 9531754 w 12305293"/>
              <a:gd name="connsiteY1112" fmla="*/ 2470082 h 3722511"/>
              <a:gd name="connsiteX1113" fmla="*/ 9531754 w 12305293"/>
              <a:gd name="connsiteY1113" fmla="*/ 2451032 h 3722511"/>
              <a:gd name="connsiteX1114" fmla="*/ 9531754 w 12305293"/>
              <a:gd name="connsiteY1114" fmla="*/ 2412933 h 3722511"/>
              <a:gd name="connsiteX1115" fmla="*/ 9531754 w 12305293"/>
              <a:gd name="connsiteY1115" fmla="*/ 2392296 h 3722511"/>
              <a:gd name="connsiteX1116" fmla="*/ 9531754 w 12305293"/>
              <a:gd name="connsiteY1116" fmla="*/ 2355784 h 3722511"/>
              <a:gd name="connsiteX1117" fmla="*/ 9531754 w 12305293"/>
              <a:gd name="connsiteY1117" fmla="*/ 2335147 h 3722511"/>
              <a:gd name="connsiteX1118" fmla="*/ 9531754 w 12305293"/>
              <a:gd name="connsiteY1118" fmla="*/ 2297047 h 3722511"/>
              <a:gd name="connsiteX1119" fmla="*/ 9531754 w 12305293"/>
              <a:gd name="connsiteY1119" fmla="*/ 2276410 h 3722511"/>
              <a:gd name="connsiteX1120" fmla="*/ 9531754 w 12305293"/>
              <a:gd name="connsiteY1120" fmla="*/ 2239898 h 3722511"/>
              <a:gd name="connsiteX1121" fmla="*/ 9531754 w 12305293"/>
              <a:gd name="connsiteY1121" fmla="*/ 2219261 h 3722511"/>
              <a:gd name="connsiteX1122" fmla="*/ 9531754 w 12305293"/>
              <a:gd name="connsiteY1122" fmla="*/ 2184337 h 3722511"/>
              <a:gd name="connsiteX1123" fmla="*/ 9531754 w 12305293"/>
              <a:gd name="connsiteY1123" fmla="*/ 2162112 h 3722511"/>
              <a:gd name="connsiteX1124" fmla="*/ 9531754 w 12305293"/>
              <a:gd name="connsiteY1124" fmla="*/ 2127188 h 3722511"/>
              <a:gd name="connsiteX1125" fmla="*/ 9531754 w 12305293"/>
              <a:gd name="connsiteY1125" fmla="*/ 2103376 h 3722511"/>
              <a:gd name="connsiteX1126" fmla="*/ 9531754 w 12305293"/>
              <a:gd name="connsiteY1126" fmla="*/ 2041464 h 3722511"/>
              <a:gd name="connsiteX1127" fmla="*/ 9586837 w 12305293"/>
              <a:gd name="connsiteY1127" fmla="*/ 2041464 h 3722511"/>
              <a:gd name="connsiteX1128" fmla="*/ 9586837 w 12305293"/>
              <a:gd name="connsiteY1128" fmla="*/ 2003544 h 3722511"/>
              <a:gd name="connsiteX1129" fmla="*/ 9585197 w 12305293"/>
              <a:gd name="connsiteY1129" fmla="*/ 2003544 h 3722511"/>
              <a:gd name="connsiteX1130" fmla="*/ 9554435 w 12305293"/>
              <a:gd name="connsiteY1130" fmla="*/ 1965981 h 3722511"/>
              <a:gd name="connsiteX1131" fmla="*/ 9659536 w 12305293"/>
              <a:gd name="connsiteY1131" fmla="*/ 1838268 h 3722511"/>
              <a:gd name="connsiteX1132" fmla="*/ 9735237 w 12305293"/>
              <a:gd name="connsiteY1132" fmla="*/ 1838268 h 3722511"/>
              <a:gd name="connsiteX1133" fmla="*/ 9747225 w 12305293"/>
              <a:gd name="connsiteY1133" fmla="*/ 1838268 h 3722511"/>
              <a:gd name="connsiteX1134" fmla="*/ 9747225 w 12305293"/>
              <a:gd name="connsiteY1134" fmla="*/ 1704920 h 3722511"/>
              <a:gd name="connsiteX1135" fmla="*/ 9765046 w 12305293"/>
              <a:gd name="connsiteY1135" fmla="*/ 1704920 h 3722511"/>
              <a:gd name="connsiteX1136" fmla="*/ 9765046 w 12305293"/>
              <a:gd name="connsiteY1136" fmla="*/ 1838268 h 3722511"/>
              <a:gd name="connsiteX1137" fmla="*/ 9779736 w 12305293"/>
              <a:gd name="connsiteY1137" fmla="*/ 1838268 h 3722511"/>
              <a:gd name="connsiteX1138" fmla="*/ 9854356 w 12305293"/>
              <a:gd name="connsiteY1138" fmla="*/ 1838268 h 3722511"/>
              <a:gd name="connsiteX1139" fmla="*/ 9959456 w 12305293"/>
              <a:gd name="connsiteY1139" fmla="*/ 1965981 h 3722511"/>
              <a:gd name="connsiteX1140" fmla="*/ 9928695 w 12305293"/>
              <a:gd name="connsiteY1140" fmla="*/ 2003544 h 3722511"/>
              <a:gd name="connsiteX1141" fmla="*/ 9928674 w 12305293"/>
              <a:gd name="connsiteY1141" fmla="*/ 2003544 h 3722511"/>
              <a:gd name="connsiteX1142" fmla="*/ 9928674 w 12305293"/>
              <a:gd name="connsiteY1142" fmla="*/ 2041464 h 3722511"/>
              <a:gd name="connsiteX1143" fmla="*/ 10027499 w 12305293"/>
              <a:gd name="connsiteY1143" fmla="*/ 2041464 h 3722511"/>
              <a:gd name="connsiteX1144" fmla="*/ 10027499 w 12305293"/>
              <a:gd name="connsiteY1144" fmla="*/ 2103376 h 3722511"/>
              <a:gd name="connsiteX1145" fmla="*/ 10027499 w 12305293"/>
              <a:gd name="connsiteY1145" fmla="*/ 2127188 h 3722511"/>
              <a:gd name="connsiteX1146" fmla="*/ 10027499 w 12305293"/>
              <a:gd name="connsiteY1146" fmla="*/ 2162112 h 3722511"/>
              <a:gd name="connsiteX1147" fmla="*/ 10027499 w 12305293"/>
              <a:gd name="connsiteY1147" fmla="*/ 2184337 h 3722511"/>
              <a:gd name="connsiteX1148" fmla="*/ 10027499 w 12305293"/>
              <a:gd name="connsiteY1148" fmla="*/ 2219261 h 3722511"/>
              <a:gd name="connsiteX1149" fmla="*/ 10027499 w 12305293"/>
              <a:gd name="connsiteY1149" fmla="*/ 2239898 h 3722511"/>
              <a:gd name="connsiteX1150" fmla="*/ 10027499 w 12305293"/>
              <a:gd name="connsiteY1150" fmla="*/ 2276410 h 3722511"/>
              <a:gd name="connsiteX1151" fmla="*/ 10027499 w 12305293"/>
              <a:gd name="connsiteY1151" fmla="*/ 2297047 h 3722511"/>
              <a:gd name="connsiteX1152" fmla="*/ 10027499 w 12305293"/>
              <a:gd name="connsiteY1152" fmla="*/ 2335147 h 3722511"/>
              <a:gd name="connsiteX1153" fmla="*/ 10027499 w 12305293"/>
              <a:gd name="connsiteY1153" fmla="*/ 2355784 h 3722511"/>
              <a:gd name="connsiteX1154" fmla="*/ 10027499 w 12305293"/>
              <a:gd name="connsiteY1154" fmla="*/ 2392296 h 3722511"/>
              <a:gd name="connsiteX1155" fmla="*/ 10027499 w 12305293"/>
              <a:gd name="connsiteY1155" fmla="*/ 2412933 h 3722511"/>
              <a:gd name="connsiteX1156" fmla="*/ 10027499 w 12305293"/>
              <a:gd name="connsiteY1156" fmla="*/ 2451032 h 3722511"/>
              <a:gd name="connsiteX1157" fmla="*/ 10027499 w 12305293"/>
              <a:gd name="connsiteY1157" fmla="*/ 2470082 h 3722511"/>
              <a:gd name="connsiteX1158" fmla="*/ 10027499 w 12305293"/>
              <a:gd name="connsiteY1158" fmla="*/ 2508181 h 3722511"/>
              <a:gd name="connsiteX1159" fmla="*/ 10027499 w 12305293"/>
              <a:gd name="connsiteY1159" fmla="*/ 2528818 h 3722511"/>
              <a:gd name="connsiteX1160" fmla="*/ 10027499 w 12305293"/>
              <a:gd name="connsiteY1160" fmla="*/ 2565330 h 3722511"/>
              <a:gd name="connsiteX1161" fmla="*/ 10027499 w 12305293"/>
              <a:gd name="connsiteY1161" fmla="*/ 2578029 h 3722511"/>
              <a:gd name="connsiteX1162" fmla="*/ 10027499 w 12305293"/>
              <a:gd name="connsiteY1162" fmla="*/ 2585967 h 3722511"/>
              <a:gd name="connsiteX1163" fmla="*/ 10027499 w 12305293"/>
              <a:gd name="connsiteY1163" fmla="*/ 2624067 h 3722511"/>
              <a:gd name="connsiteX1164" fmla="*/ 10027499 w 12305293"/>
              <a:gd name="connsiteY1164" fmla="*/ 2643117 h 3722511"/>
              <a:gd name="connsiteX1165" fmla="*/ 10027499 w 12305293"/>
              <a:gd name="connsiteY1165" fmla="*/ 2681216 h 3722511"/>
              <a:gd name="connsiteX1166" fmla="*/ 10027499 w 12305293"/>
              <a:gd name="connsiteY1166" fmla="*/ 2701853 h 3722511"/>
              <a:gd name="connsiteX1167" fmla="*/ 10027499 w 12305293"/>
              <a:gd name="connsiteY1167" fmla="*/ 2739952 h 3722511"/>
              <a:gd name="connsiteX1168" fmla="*/ 10027499 w 12305293"/>
              <a:gd name="connsiteY1168" fmla="*/ 2759002 h 3722511"/>
              <a:gd name="connsiteX1169" fmla="*/ 10027499 w 12305293"/>
              <a:gd name="connsiteY1169" fmla="*/ 2797101 h 3722511"/>
              <a:gd name="connsiteX1170" fmla="*/ 10027499 w 12305293"/>
              <a:gd name="connsiteY1170" fmla="*/ 2817738 h 3722511"/>
              <a:gd name="connsiteX1171" fmla="*/ 10027499 w 12305293"/>
              <a:gd name="connsiteY1171" fmla="*/ 2854250 h 3722511"/>
              <a:gd name="connsiteX1172" fmla="*/ 10027499 w 12305293"/>
              <a:gd name="connsiteY1172" fmla="*/ 2874887 h 3722511"/>
              <a:gd name="connsiteX1173" fmla="*/ 10027499 w 12305293"/>
              <a:gd name="connsiteY1173" fmla="*/ 2909812 h 3722511"/>
              <a:gd name="connsiteX1174" fmla="*/ 10027499 w 12305293"/>
              <a:gd name="connsiteY1174" fmla="*/ 2932037 h 3722511"/>
              <a:gd name="connsiteX1175" fmla="*/ 10027499 w 12305293"/>
              <a:gd name="connsiteY1175" fmla="*/ 2966961 h 3722511"/>
              <a:gd name="connsiteX1176" fmla="*/ 10027499 w 12305293"/>
              <a:gd name="connsiteY1176" fmla="*/ 2990773 h 3722511"/>
              <a:gd name="connsiteX1177" fmla="*/ 10027499 w 12305293"/>
              <a:gd name="connsiteY1177" fmla="*/ 3025698 h 3722511"/>
              <a:gd name="connsiteX1178" fmla="*/ 10027499 w 12305293"/>
              <a:gd name="connsiteY1178" fmla="*/ 3047923 h 3722511"/>
              <a:gd name="connsiteX1179" fmla="*/ 10027499 w 12305293"/>
              <a:gd name="connsiteY1179" fmla="*/ 3082847 h 3722511"/>
              <a:gd name="connsiteX1180" fmla="*/ 10027499 w 12305293"/>
              <a:gd name="connsiteY1180" fmla="*/ 3103484 h 3722511"/>
              <a:gd name="connsiteX1181" fmla="*/ 10027499 w 12305293"/>
              <a:gd name="connsiteY1181" fmla="*/ 3141583 h 3722511"/>
              <a:gd name="connsiteX1182" fmla="*/ 10027499 w 12305293"/>
              <a:gd name="connsiteY1182" fmla="*/ 3160633 h 3722511"/>
              <a:gd name="connsiteX1183" fmla="*/ 10027499 w 12305293"/>
              <a:gd name="connsiteY1183" fmla="*/ 3198732 h 3722511"/>
              <a:gd name="connsiteX1184" fmla="*/ 10027499 w 12305293"/>
              <a:gd name="connsiteY1184" fmla="*/ 3219369 h 3722511"/>
              <a:gd name="connsiteX1185" fmla="*/ 10027499 w 12305293"/>
              <a:gd name="connsiteY1185" fmla="*/ 3255881 h 3722511"/>
              <a:gd name="connsiteX1186" fmla="*/ 10027499 w 12305293"/>
              <a:gd name="connsiteY1186" fmla="*/ 3276518 h 3722511"/>
              <a:gd name="connsiteX1187" fmla="*/ 10027499 w 12305293"/>
              <a:gd name="connsiteY1187" fmla="*/ 3314618 h 3722511"/>
              <a:gd name="connsiteX1188" fmla="*/ 10027499 w 12305293"/>
              <a:gd name="connsiteY1188" fmla="*/ 3333668 h 3722511"/>
              <a:gd name="connsiteX1189" fmla="*/ 10027499 w 12305293"/>
              <a:gd name="connsiteY1189" fmla="*/ 3371767 h 3722511"/>
              <a:gd name="connsiteX1190" fmla="*/ 10027499 w 12305293"/>
              <a:gd name="connsiteY1190" fmla="*/ 3392404 h 3722511"/>
              <a:gd name="connsiteX1191" fmla="*/ 10027499 w 12305293"/>
              <a:gd name="connsiteY1191" fmla="*/ 3430503 h 3722511"/>
              <a:gd name="connsiteX1192" fmla="*/ 10027499 w 12305293"/>
              <a:gd name="connsiteY1192" fmla="*/ 3449553 h 3722511"/>
              <a:gd name="connsiteX1193" fmla="*/ 10027499 w 12305293"/>
              <a:gd name="connsiteY1193" fmla="*/ 3487652 h 3722511"/>
              <a:gd name="connsiteX1194" fmla="*/ 10027499 w 12305293"/>
              <a:gd name="connsiteY1194" fmla="*/ 3508289 h 3722511"/>
              <a:gd name="connsiteX1195" fmla="*/ 10027499 w 12305293"/>
              <a:gd name="connsiteY1195" fmla="*/ 3544801 h 3722511"/>
              <a:gd name="connsiteX1196" fmla="*/ 10027499 w 12305293"/>
              <a:gd name="connsiteY1196" fmla="*/ 3565438 h 3722511"/>
              <a:gd name="connsiteX1197" fmla="*/ 10027499 w 12305293"/>
              <a:gd name="connsiteY1197" fmla="*/ 3603538 h 3722511"/>
              <a:gd name="connsiteX1198" fmla="*/ 10027499 w 12305293"/>
              <a:gd name="connsiteY1198" fmla="*/ 3622588 h 3722511"/>
              <a:gd name="connsiteX1199" fmla="*/ 10027499 w 12305293"/>
              <a:gd name="connsiteY1199" fmla="*/ 3660687 h 3722511"/>
              <a:gd name="connsiteX1200" fmla="*/ 10027499 w 12305293"/>
              <a:gd name="connsiteY1200" fmla="*/ 3681324 h 3722511"/>
              <a:gd name="connsiteX1201" fmla="*/ 10027499 w 12305293"/>
              <a:gd name="connsiteY1201" fmla="*/ 3717836 h 3722511"/>
              <a:gd name="connsiteX1202" fmla="*/ 10027499 w 12305293"/>
              <a:gd name="connsiteY1202" fmla="*/ 3722511 h 3722511"/>
              <a:gd name="connsiteX1203" fmla="*/ 6016174 w 12305293"/>
              <a:gd name="connsiteY1203" fmla="*/ 3722511 h 3722511"/>
              <a:gd name="connsiteX1204" fmla="*/ 6016174 w 12305293"/>
              <a:gd name="connsiteY1204" fmla="*/ 1812966 h 3722511"/>
              <a:gd name="connsiteX1205" fmla="*/ 6121479 w 12305293"/>
              <a:gd name="connsiteY1205" fmla="*/ 1812966 h 3722511"/>
              <a:gd name="connsiteX1206" fmla="*/ 6856349 w 12305293"/>
              <a:gd name="connsiteY1206" fmla="*/ 2812955 h 3722511"/>
              <a:gd name="connsiteX1207" fmla="*/ 6914185 w 12305293"/>
              <a:gd name="connsiteY1207" fmla="*/ 2953310 h 3722511"/>
              <a:gd name="connsiteX1208" fmla="*/ 6910206 w 12305293"/>
              <a:gd name="connsiteY1208" fmla="*/ 2942588 h 3722511"/>
              <a:gd name="connsiteX1209" fmla="*/ 6974250 w 12305293"/>
              <a:gd name="connsiteY1209" fmla="*/ 2942588 h 3722511"/>
              <a:gd name="connsiteX1210" fmla="*/ 6974250 w 12305293"/>
              <a:gd name="connsiteY1210" fmla="*/ 2623807 h 3722511"/>
              <a:gd name="connsiteX1211" fmla="*/ 6943508 w 12305293"/>
              <a:gd name="connsiteY1211" fmla="*/ 2623807 h 3722511"/>
              <a:gd name="connsiteX1212" fmla="*/ 6943508 w 12305293"/>
              <a:gd name="connsiteY1212" fmla="*/ 2533444 h 3722511"/>
              <a:gd name="connsiteX1213" fmla="*/ 7060210 w 12305293"/>
              <a:gd name="connsiteY1213" fmla="*/ 2533444 h 3722511"/>
              <a:gd name="connsiteX1214" fmla="*/ 7117697 w 12305293"/>
              <a:gd name="connsiteY1214" fmla="*/ 2533444 h 3722511"/>
              <a:gd name="connsiteX1215" fmla="*/ 7121840 w 12305293"/>
              <a:gd name="connsiteY1215" fmla="*/ 2524813 h 3722511"/>
              <a:gd name="connsiteX1216" fmla="*/ 7261033 w 12305293"/>
              <a:gd name="connsiteY1216" fmla="*/ 2299535 h 3722511"/>
              <a:gd name="connsiteX1217" fmla="*/ 7263816 w 12305293"/>
              <a:gd name="connsiteY1217" fmla="*/ 2295970 h 3722511"/>
              <a:gd name="connsiteX1218" fmla="*/ 7263790 w 12305293"/>
              <a:gd name="connsiteY1218" fmla="*/ 2295525 h 3722511"/>
              <a:gd name="connsiteX1219" fmla="*/ 7263973 w 12305293"/>
              <a:gd name="connsiteY1219" fmla="*/ 2295769 h 3722511"/>
              <a:gd name="connsiteX1220" fmla="*/ 7264164 w 12305293"/>
              <a:gd name="connsiteY1220" fmla="*/ 2295525 h 3722511"/>
              <a:gd name="connsiteX1221" fmla="*/ 7264232 w 12305293"/>
              <a:gd name="connsiteY1221" fmla="*/ 2296117 h 3722511"/>
              <a:gd name="connsiteX1222" fmla="*/ 7267234 w 12305293"/>
              <a:gd name="connsiteY1222" fmla="*/ 2300132 h 3722511"/>
              <a:gd name="connsiteX1223" fmla="*/ 7463453 w 12305293"/>
              <a:gd name="connsiteY1223" fmla="*/ 2745744 h 3722511"/>
              <a:gd name="connsiteX1224" fmla="*/ 7477245 w 12305293"/>
              <a:gd name="connsiteY1224" fmla="*/ 2802923 h 3722511"/>
              <a:gd name="connsiteX1225" fmla="*/ 7473795 w 12305293"/>
              <a:gd name="connsiteY1225" fmla="*/ 2784453 h 3722511"/>
              <a:gd name="connsiteX1226" fmla="*/ 7484042 w 12305293"/>
              <a:gd name="connsiteY1226" fmla="*/ 2809554 h 3722511"/>
              <a:gd name="connsiteX1227" fmla="*/ 7558334 w 12305293"/>
              <a:gd name="connsiteY1227" fmla="*/ 2671499 h 3722511"/>
              <a:gd name="connsiteX1228" fmla="*/ 7558334 w 12305293"/>
              <a:gd name="connsiteY1228" fmla="*/ 3283700 h 3722511"/>
              <a:gd name="connsiteX1229" fmla="*/ 7558334 w 12305293"/>
              <a:gd name="connsiteY1229" fmla="*/ 3413966 h 3722511"/>
              <a:gd name="connsiteX1230" fmla="*/ 7558576 w 12305293"/>
              <a:gd name="connsiteY1230" fmla="*/ 3414612 h 3722511"/>
              <a:gd name="connsiteX1231" fmla="*/ 7558576 w 12305293"/>
              <a:gd name="connsiteY1231" fmla="*/ 1941565 h 3722511"/>
              <a:gd name="connsiteX1232" fmla="*/ 7642822 w 12305293"/>
              <a:gd name="connsiteY1232" fmla="*/ 1941565 h 3722511"/>
              <a:gd name="connsiteX1233" fmla="*/ 7642822 w 12305293"/>
              <a:gd name="connsiteY1233" fmla="*/ 1544684 h 3722511"/>
              <a:gd name="connsiteX1234" fmla="*/ 7644279 w 12305293"/>
              <a:gd name="connsiteY1234" fmla="*/ 1544684 h 3722511"/>
              <a:gd name="connsiteX1235" fmla="*/ 7642728 w 12305293"/>
              <a:gd name="connsiteY1235" fmla="*/ 1544514 h 3722511"/>
              <a:gd name="connsiteX1236" fmla="*/ 7704100 w 12305293"/>
              <a:gd name="connsiteY1236" fmla="*/ 1406216 h 3722511"/>
              <a:gd name="connsiteX1237" fmla="*/ 7719443 w 12305293"/>
              <a:gd name="connsiteY1237" fmla="*/ 1217627 h 3722511"/>
              <a:gd name="connsiteX1238" fmla="*/ 7757800 w 12305293"/>
              <a:gd name="connsiteY1238" fmla="*/ 1217627 h 3722511"/>
              <a:gd name="connsiteX1239" fmla="*/ 7788486 w 12305293"/>
              <a:gd name="connsiteY1239" fmla="*/ 1217627 h 3722511"/>
              <a:gd name="connsiteX1240" fmla="*/ 7826845 w 12305293"/>
              <a:gd name="connsiteY1240" fmla="*/ 1217627 h 3722511"/>
              <a:gd name="connsiteX1241" fmla="*/ 7844745 w 12305293"/>
              <a:gd name="connsiteY1241" fmla="*/ 1406216 h 3722511"/>
              <a:gd name="connsiteX1242" fmla="*/ 7903560 w 12305293"/>
              <a:gd name="connsiteY1242" fmla="*/ 1544514 h 3722511"/>
              <a:gd name="connsiteX1243" fmla="*/ 7902009 w 12305293"/>
              <a:gd name="connsiteY1243" fmla="*/ 1544684 h 3722511"/>
              <a:gd name="connsiteX1244" fmla="*/ 7903560 w 12305293"/>
              <a:gd name="connsiteY1244" fmla="*/ 1544684 h 3722511"/>
              <a:gd name="connsiteX1245" fmla="*/ 7903560 w 12305293"/>
              <a:gd name="connsiteY1245" fmla="*/ 1544654 h 3722511"/>
              <a:gd name="connsiteX1246" fmla="*/ 7989425 w 12305293"/>
              <a:gd name="connsiteY1246" fmla="*/ 1544654 h 3722511"/>
              <a:gd name="connsiteX1247" fmla="*/ 7989425 w 12305293"/>
              <a:gd name="connsiteY1247" fmla="*/ 1589104 h 3722511"/>
              <a:gd name="connsiteX1248" fmla="*/ 7989425 w 12305293"/>
              <a:gd name="connsiteY1248" fmla="*/ 1592279 h 3722511"/>
              <a:gd name="connsiteX1249" fmla="*/ 7989425 w 12305293"/>
              <a:gd name="connsiteY1249" fmla="*/ 1635142 h 3722511"/>
              <a:gd name="connsiteX1250" fmla="*/ 7989425 w 12305293"/>
              <a:gd name="connsiteY1250" fmla="*/ 1636729 h 3722511"/>
              <a:gd name="connsiteX1251" fmla="*/ 7989425 w 12305293"/>
              <a:gd name="connsiteY1251" fmla="*/ 1679592 h 3722511"/>
              <a:gd name="connsiteX1252" fmla="*/ 7989425 w 12305293"/>
              <a:gd name="connsiteY1252" fmla="*/ 1682767 h 3722511"/>
              <a:gd name="connsiteX1253" fmla="*/ 7989425 w 12305293"/>
              <a:gd name="connsiteY1253" fmla="*/ 1724042 h 3722511"/>
              <a:gd name="connsiteX1254" fmla="*/ 7989425 w 12305293"/>
              <a:gd name="connsiteY1254" fmla="*/ 1727217 h 3722511"/>
              <a:gd name="connsiteX1255" fmla="*/ 7989425 w 12305293"/>
              <a:gd name="connsiteY1255" fmla="*/ 1770080 h 3722511"/>
              <a:gd name="connsiteX1256" fmla="*/ 7989425 w 12305293"/>
              <a:gd name="connsiteY1256" fmla="*/ 1773255 h 3722511"/>
              <a:gd name="connsiteX1257" fmla="*/ 7989425 w 12305293"/>
              <a:gd name="connsiteY1257" fmla="*/ 1814530 h 3722511"/>
              <a:gd name="connsiteX1258" fmla="*/ 7989425 w 12305293"/>
              <a:gd name="connsiteY1258" fmla="*/ 1817705 h 3722511"/>
              <a:gd name="connsiteX1259" fmla="*/ 7989425 w 12305293"/>
              <a:gd name="connsiteY1259" fmla="*/ 1860568 h 3722511"/>
              <a:gd name="connsiteX1260" fmla="*/ 7989425 w 12305293"/>
              <a:gd name="connsiteY1260" fmla="*/ 1862155 h 3722511"/>
              <a:gd name="connsiteX1261" fmla="*/ 7989425 w 12305293"/>
              <a:gd name="connsiteY1261" fmla="*/ 1903431 h 3722511"/>
              <a:gd name="connsiteX1262" fmla="*/ 7989425 w 12305293"/>
              <a:gd name="connsiteY1262" fmla="*/ 1905018 h 3722511"/>
              <a:gd name="connsiteX1263" fmla="*/ 7989425 w 12305293"/>
              <a:gd name="connsiteY1263" fmla="*/ 1951056 h 3722511"/>
              <a:gd name="connsiteX1264" fmla="*/ 7903660 w 12305293"/>
              <a:gd name="connsiteY1264" fmla="*/ 1951056 h 3722511"/>
              <a:gd name="connsiteX1265" fmla="*/ 7903660 w 12305293"/>
              <a:gd name="connsiteY1265" fmla="*/ 1951090 h 3722511"/>
              <a:gd name="connsiteX1266" fmla="*/ 7989526 w 12305293"/>
              <a:gd name="connsiteY1266" fmla="*/ 1951090 h 3722511"/>
              <a:gd name="connsiteX1267" fmla="*/ 7989526 w 12305293"/>
              <a:gd name="connsiteY1267" fmla="*/ 2437482 h 3722511"/>
              <a:gd name="connsiteX1268" fmla="*/ 8028419 w 12305293"/>
              <a:gd name="connsiteY1268" fmla="*/ 2409823 h 3722511"/>
              <a:gd name="connsiteX1269" fmla="*/ 8075811 w 12305293"/>
              <a:gd name="connsiteY1269" fmla="*/ 2392880 h 3722511"/>
              <a:gd name="connsiteX1270" fmla="*/ 8075811 w 12305293"/>
              <a:gd name="connsiteY1270" fmla="*/ 2199603 h 3722511"/>
              <a:gd name="connsiteX1271" fmla="*/ 8147541 w 12305293"/>
              <a:gd name="connsiteY1271" fmla="*/ 2199603 h 3722511"/>
              <a:gd name="connsiteX1272" fmla="*/ 8147541 w 12305293"/>
              <a:gd name="connsiteY1272" fmla="*/ 2392880 h 3722511"/>
              <a:gd name="connsiteX1273" fmla="*/ 8221832 w 12305293"/>
              <a:gd name="connsiteY1273" fmla="*/ 2425511 h 3722511"/>
              <a:gd name="connsiteX1274" fmla="*/ 8221832 w 12305293"/>
              <a:gd name="connsiteY1274" fmla="*/ 2596196 h 3722511"/>
              <a:gd name="connsiteX1275" fmla="*/ 8221832 w 12305293"/>
              <a:gd name="connsiteY1275" fmla="*/ 2656439 h 3722511"/>
              <a:gd name="connsiteX1276" fmla="*/ 8221832 w 12305293"/>
              <a:gd name="connsiteY1276" fmla="*/ 2701620 h 3722511"/>
              <a:gd name="connsiteX1277" fmla="*/ 8147541 w 12305293"/>
              <a:gd name="connsiteY1277" fmla="*/ 2736761 h 3722511"/>
              <a:gd name="connsiteX1278" fmla="*/ 8147541 w 12305293"/>
              <a:gd name="connsiteY1278" fmla="*/ 2844695 h 3722511"/>
              <a:gd name="connsiteX1279" fmla="*/ 8221832 w 12305293"/>
              <a:gd name="connsiteY1279" fmla="*/ 2844695 h 3722511"/>
              <a:gd name="connsiteX1280" fmla="*/ 8221832 w 12305293"/>
              <a:gd name="connsiteY1280" fmla="*/ 2977730 h 3722511"/>
              <a:gd name="connsiteX1281" fmla="*/ 8196215 w 12305293"/>
              <a:gd name="connsiteY1281" fmla="*/ 2977730 h 3722511"/>
              <a:gd name="connsiteX1282" fmla="*/ 8162911 w 12305293"/>
              <a:gd name="connsiteY1282" fmla="*/ 2977730 h 3722511"/>
              <a:gd name="connsiteX1283" fmla="*/ 8137294 w 12305293"/>
              <a:gd name="connsiteY1283" fmla="*/ 2977730 h 3722511"/>
              <a:gd name="connsiteX1284" fmla="*/ 8119361 w 12305293"/>
              <a:gd name="connsiteY1284" fmla="*/ 2977730 h 3722511"/>
              <a:gd name="connsiteX1285" fmla="*/ 8119361 w 12305293"/>
              <a:gd name="connsiteY1285" fmla="*/ 2978150 h 3722511"/>
              <a:gd name="connsiteX1286" fmla="*/ 8136840 w 12305293"/>
              <a:gd name="connsiteY1286" fmla="*/ 2978150 h 3722511"/>
              <a:gd name="connsiteX1287" fmla="*/ 8162762 w 12305293"/>
              <a:gd name="connsiteY1287" fmla="*/ 2978150 h 3722511"/>
              <a:gd name="connsiteX1288" fmla="*/ 8222704 w 12305293"/>
              <a:gd name="connsiteY1288" fmla="*/ 2978150 h 3722511"/>
              <a:gd name="connsiteX1289" fmla="*/ 8222704 w 12305293"/>
              <a:gd name="connsiteY1289" fmla="*/ 2655887 h 3722511"/>
              <a:gd name="connsiteX1290" fmla="*/ 8222704 w 12305293"/>
              <a:gd name="connsiteY1290" fmla="*/ 2595562 h 3722511"/>
              <a:gd name="connsiteX1291" fmla="*/ 8222704 w 12305293"/>
              <a:gd name="connsiteY1291" fmla="*/ 2205037 h 3722511"/>
              <a:gd name="connsiteX1292" fmla="*/ 8316668 w 12305293"/>
              <a:gd name="connsiteY1292" fmla="*/ 2205037 h 3722511"/>
              <a:gd name="connsiteX1293" fmla="*/ 8316668 w 12305293"/>
              <a:gd name="connsiteY1293" fmla="*/ 1817687 h 3722511"/>
              <a:gd name="connsiteX1294" fmla="*/ 8316668 w 12305293"/>
              <a:gd name="connsiteY1294" fmla="*/ 1757362 h 3722511"/>
              <a:gd name="connsiteX1295" fmla="*/ 8316668 w 12305293"/>
              <a:gd name="connsiteY1295" fmla="*/ 1412875 h 3722511"/>
              <a:gd name="connsiteX1296" fmla="*/ 8391192 w 12305293"/>
              <a:gd name="connsiteY1296" fmla="*/ 1412875 h 3722511"/>
              <a:gd name="connsiteX1297" fmla="*/ 8399292 w 12305293"/>
              <a:gd name="connsiteY1297" fmla="*/ 1412875 h 3722511"/>
              <a:gd name="connsiteX1298" fmla="*/ 8399292 w 12305293"/>
              <a:gd name="connsiteY1298" fmla="*/ 1084262 h 3722511"/>
              <a:gd name="connsiteX1299" fmla="*/ 8399292 w 12305293"/>
              <a:gd name="connsiteY1299" fmla="*/ 933450 h 3722511"/>
              <a:gd name="connsiteX1300" fmla="*/ 8423593 w 12305293"/>
              <a:gd name="connsiteY1300" fmla="*/ 933450 h 3722511"/>
              <a:gd name="connsiteX1301" fmla="*/ 8457615 w 12305293"/>
              <a:gd name="connsiteY1301" fmla="*/ 933450 h 3722511"/>
              <a:gd name="connsiteX1302" fmla="*/ 8470576 w 12305293"/>
              <a:gd name="connsiteY1302" fmla="*/ 933450 h 3722511"/>
              <a:gd name="connsiteX1303" fmla="*/ 8470576 w 12305293"/>
              <a:gd name="connsiteY1303" fmla="*/ 755650 h 3722511"/>
              <a:gd name="connsiteX1304" fmla="*/ 8470576 w 12305293"/>
              <a:gd name="connsiteY1304" fmla="*/ 549275 h 3722511"/>
              <a:gd name="connsiteX1305" fmla="*/ 8485156 w 12305293"/>
              <a:gd name="connsiteY1305" fmla="*/ 549275 h 3722511"/>
              <a:gd name="connsiteX1306" fmla="*/ 8514318 w 12305293"/>
              <a:gd name="connsiteY1306" fmla="*/ 549275 h 3722511"/>
              <a:gd name="connsiteX1307" fmla="*/ 8514318 w 12305293"/>
              <a:gd name="connsiteY1307" fmla="*/ 471487 h 3722511"/>
              <a:gd name="connsiteX1308" fmla="*/ 8514318 w 12305293"/>
              <a:gd name="connsiteY1308" fmla="*/ 427037 h 3722511"/>
              <a:gd name="connsiteX1309" fmla="*/ 8514318 w 12305293"/>
              <a:gd name="connsiteY1309" fmla="*/ 290512 h 3722511"/>
              <a:gd name="connsiteX1310" fmla="*/ 8553199 w 12305293"/>
              <a:gd name="connsiteY1310" fmla="*/ 290512 h 3722511"/>
              <a:gd name="connsiteX1311" fmla="*/ 8553199 w 12305293"/>
              <a:gd name="connsiteY1311" fmla="*/ 163512 h 372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Lst>
            <a:rect l="l" t="t" r="r" b="b"/>
            <a:pathLst>
              <a:path w="12305293" h="3722511">
                <a:moveTo>
                  <a:pt x="4492347" y="3668778"/>
                </a:moveTo>
                <a:lnTo>
                  <a:pt x="4492347" y="3668779"/>
                </a:lnTo>
                <a:lnTo>
                  <a:pt x="4492419" y="3668779"/>
                </a:lnTo>
                <a:lnTo>
                  <a:pt x="4493162" y="3668779"/>
                </a:lnTo>
                <a:lnTo>
                  <a:pt x="4499732" y="3668779"/>
                </a:lnTo>
                <a:lnTo>
                  <a:pt x="4515335" y="3668779"/>
                </a:lnTo>
                <a:lnTo>
                  <a:pt x="4545722" y="3668779"/>
                </a:lnTo>
                <a:lnTo>
                  <a:pt x="4595819" y="3668779"/>
                </a:lnTo>
                <a:lnTo>
                  <a:pt x="4670553" y="3668779"/>
                </a:lnTo>
                <a:lnTo>
                  <a:pt x="4774853" y="3668779"/>
                </a:lnTo>
                <a:lnTo>
                  <a:pt x="4913644" y="3668779"/>
                </a:lnTo>
                <a:lnTo>
                  <a:pt x="5282926" y="3668779"/>
                </a:lnTo>
                <a:lnTo>
                  <a:pt x="5282926" y="3668778"/>
                </a:lnTo>
                <a:lnTo>
                  <a:pt x="4916885" y="3668778"/>
                </a:lnTo>
                <a:lnTo>
                  <a:pt x="4913644" y="3668778"/>
                </a:lnTo>
                <a:lnTo>
                  <a:pt x="4492419" y="3668778"/>
                </a:lnTo>
                <a:close/>
                <a:moveTo>
                  <a:pt x="3055361" y="3644953"/>
                </a:moveTo>
                <a:lnTo>
                  <a:pt x="3055361" y="3703690"/>
                </a:lnTo>
                <a:lnTo>
                  <a:pt x="3065125" y="3703690"/>
                </a:lnTo>
                <a:lnTo>
                  <a:pt x="3065125" y="3703148"/>
                </a:lnTo>
                <a:lnTo>
                  <a:pt x="3065098" y="3703148"/>
                </a:lnTo>
                <a:cubicBezTo>
                  <a:pt x="3065098" y="3703148"/>
                  <a:pt x="3065098" y="3703148"/>
                  <a:pt x="3065098" y="3645226"/>
                </a:cubicBezTo>
                <a:lnTo>
                  <a:pt x="3065125" y="3645226"/>
                </a:lnTo>
                <a:lnTo>
                  <a:pt x="3065125" y="3644953"/>
                </a:lnTo>
                <a:close/>
                <a:moveTo>
                  <a:pt x="8119019" y="3193932"/>
                </a:moveTo>
                <a:lnTo>
                  <a:pt x="8118360" y="3194577"/>
                </a:lnTo>
                <a:cubicBezTo>
                  <a:pt x="8116109" y="3196783"/>
                  <a:pt x="8108792" y="3203953"/>
                  <a:pt x="8085010" y="3227255"/>
                </a:cubicBezTo>
                <a:lnTo>
                  <a:pt x="8055685" y="3255988"/>
                </a:lnTo>
                <a:lnTo>
                  <a:pt x="8055847" y="3255988"/>
                </a:lnTo>
                <a:lnTo>
                  <a:pt x="8119019" y="3194711"/>
                </a:lnTo>
                <a:close/>
                <a:moveTo>
                  <a:pt x="11570066" y="3115784"/>
                </a:moveTo>
                <a:cubicBezTo>
                  <a:pt x="11570066" y="3115784"/>
                  <a:pt x="11570066" y="3115784"/>
                  <a:pt x="11567505" y="3117981"/>
                </a:cubicBezTo>
                <a:lnTo>
                  <a:pt x="11563060" y="3121791"/>
                </a:lnTo>
                <a:lnTo>
                  <a:pt x="11569818" y="3116273"/>
                </a:lnTo>
                <a:lnTo>
                  <a:pt x="11679984" y="3203585"/>
                </a:lnTo>
                <a:lnTo>
                  <a:pt x="11679984" y="3575086"/>
                </a:lnTo>
                <a:lnTo>
                  <a:pt x="11680221" y="3575086"/>
                </a:lnTo>
                <a:lnTo>
                  <a:pt x="11680221" y="3574404"/>
                </a:lnTo>
                <a:cubicBezTo>
                  <a:pt x="11680221" y="3569325"/>
                  <a:pt x="11680221" y="3528693"/>
                  <a:pt x="11680221" y="3203637"/>
                </a:cubicBezTo>
                <a:cubicBezTo>
                  <a:pt x="11680221" y="3203637"/>
                  <a:pt x="11680221" y="3203637"/>
                  <a:pt x="11570066" y="3115784"/>
                </a:cubicBezTo>
                <a:close/>
                <a:moveTo>
                  <a:pt x="3697880" y="3081386"/>
                </a:moveTo>
                <a:lnTo>
                  <a:pt x="3697875" y="3081401"/>
                </a:lnTo>
                <a:lnTo>
                  <a:pt x="3883174" y="3081401"/>
                </a:lnTo>
                <a:lnTo>
                  <a:pt x="3883174" y="3081386"/>
                </a:lnTo>
                <a:lnTo>
                  <a:pt x="3863317" y="3081386"/>
                </a:lnTo>
                <a:cubicBezTo>
                  <a:pt x="3838731" y="3081386"/>
                  <a:pt x="3799394" y="3081386"/>
                  <a:pt x="3736453" y="3081386"/>
                </a:cubicBezTo>
                <a:cubicBezTo>
                  <a:pt x="3736453" y="3081386"/>
                  <a:pt x="3736453" y="3081386"/>
                  <a:pt x="3716784" y="3081386"/>
                </a:cubicBezTo>
                <a:close/>
                <a:moveTo>
                  <a:pt x="6938046" y="3017605"/>
                </a:moveTo>
                <a:lnTo>
                  <a:pt x="6960659" y="3084483"/>
                </a:lnTo>
                <a:lnTo>
                  <a:pt x="6961143" y="3079838"/>
                </a:lnTo>
                <a:close/>
                <a:moveTo>
                  <a:pt x="6984400" y="2912583"/>
                </a:moveTo>
                <a:lnTo>
                  <a:pt x="6981535" y="2923841"/>
                </a:lnTo>
                <a:lnTo>
                  <a:pt x="6980146" y="2934684"/>
                </a:lnTo>
                <a:close/>
                <a:moveTo>
                  <a:pt x="7989526" y="2692114"/>
                </a:moveTo>
                <a:lnTo>
                  <a:pt x="7989526" y="2844695"/>
                </a:lnTo>
                <a:lnTo>
                  <a:pt x="7990072" y="2844695"/>
                </a:lnTo>
                <a:cubicBezTo>
                  <a:pt x="7994155" y="2844695"/>
                  <a:pt x="8010486" y="2844695"/>
                  <a:pt x="8075811" y="2844695"/>
                </a:cubicBezTo>
                <a:cubicBezTo>
                  <a:pt x="8075811" y="2844695"/>
                  <a:pt x="8075811" y="2844695"/>
                  <a:pt x="8075811" y="2734251"/>
                </a:cubicBezTo>
                <a:cubicBezTo>
                  <a:pt x="8059160" y="2730486"/>
                  <a:pt x="8043148" y="2724838"/>
                  <a:pt x="8028419" y="2717622"/>
                </a:cubicBezTo>
                <a:close/>
                <a:moveTo>
                  <a:pt x="3071561" y="2528938"/>
                </a:moveTo>
                <a:lnTo>
                  <a:pt x="3196297" y="2625773"/>
                </a:lnTo>
                <a:lnTo>
                  <a:pt x="3196299" y="2625775"/>
                </a:lnTo>
                <a:lnTo>
                  <a:pt x="3196299" y="2625776"/>
                </a:lnTo>
                <a:lnTo>
                  <a:pt x="3196299" y="2654350"/>
                </a:lnTo>
                <a:lnTo>
                  <a:pt x="3165953" y="2689129"/>
                </a:lnTo>
                <a:lnTo>
                  <a:pt x="3167645" y="2692529"/>
                </a:lnTo>
                <a:cubicBezTo>
                  <a:pt x="3168037" y="2699316"/>
                  <a:pt x="3165693" y="2706102"/>
                  <a:pt x="3161007" y="2712135"/>
                </a:cubicBezTo>
                <a:lnTo>
                  <a:pt x="3136012" y="2742298"/>
                </a:lnTo>
                <a:cubicBezTo>
                  <a:pt x="3129765" y="2746822"/>
                  <a:pt x="3122735" y="2749838"/>
                  <a:pt x="3115705" y="2750215"/>
                </a:cubicBezTo>
                <a:lnTo>
                  <a:pt x="3113426" y="2749327"/>
                </a:lnTo>
                <a:lnTo>
                  <a:pt x="3005140" y="2873426"/>
                </a:lnTo>
                <a:lnTo>
                  <a:pt x="2946823" y="2824213"/>
                </a:lnTo>
                <a:lnTo>
                  <a:pt x="2946823" y="2797226"/>
                </a:lnTo>
                <a:lnTo>
                  <a:pt x="2946823" y="2794051"/>
                </a:lnTo>
                <a:lnTo>
                  <a:pt x="2946823" y="2648001"/>
                </a:lnTo>
                <a:close/>
                <a:moveTo>
                  <a:pt x="6315875" y="2458142"/>
                </a:moveTo>
                <a:cubicBezTo>
                  <a:pt x="6315875" y="2458142"/>
                  <a:pt x="6315875" y="2458142"/>
                  <a:pt x="6464458" y="2535954"/>
                </a:cubicBezTo>
                <a:cubicBezTo>
                  <a:pt x="6464458" y="2535954"/>
                  <a:pt x="6464458" y="2535954"/>
                  <a:pt x="6315875" y="2535954"/>
                </a:cubicBezTo>
                <a:cubicBezTo>
                  <a:pt x="6315875" y="2535954"/>
                  <a:pt x="6315875" y="2535954"/>
                  <a:pt x="6315875" y="2458142"/>
                </a:cubicBezTo>
                <a:close/>
                <a:moveTo>
                  <a:pt x="1155115" y="2386064"/>
                </a:moveTo>
                <a:cubicBezTo>
                  <a:pt x="1320315" y="2386064"/>
                  <a:pt x="1458158" y="2501427"/>
                  <a:pt x="1490024" y="2654788"/>
                </a:cubicBezTo>
                <a:lnTo>
                  <a:pt x="1493718" y="2690879"/>
                </a:lnTo>
                <a:lnTo>
                  <a:pt x="1587686" y="2690879"/>
                </a:lnTo>
                <a:lnTo>
                  <a:pt x="1587686" y="2754379"/>
                </a:lnTo>
                <a:lnTo>
                  <a:pt x="1556890" y="2754379"/>
                </a:lnTo>
                <a:lnTo>
                  <a:pt x="1556890" y="3254429"/>
                </a:lnTo>
                <a:lnTo>
                  <a:pt x="1597376" y="3254429"/>
                </a:lnTo>
                <a:lnTo>
                  <a:pt x="1597376" y="3722511"/>
                </a:lnTo>
                <a:lnTo>
                  <a:pt x="712805" y="3722511"/>
                </a:lnTo>
                <a:lnTo>
                  <a:pt x="712805" y="3254429"/>
                </a:lnTo>
                <a:lnTo>
                  <a:pt x="753308" y="3254429"/>
                </a:lnTo>
                <a:lnTo>
                  <a:pt x="753308" y="2754379"/>
                </a:lnTo>
                <a:lnTo>
                  <a:pt x="725784" y="2754379"/>
                </a:lnTo>
                <a:lnTo>
                  <a:pt x="725783" y="2754379"/>
                </a:lnTo>
                <a:lnTo>
                  <a:pt x="725783" y="2754375"/>
                </a:lnTo>
                <a:lnTo>
                  <a:pt x="725770" y="2754375"/>
                </a:lnTo>
                <a:lnTo>
                  <a:pt x="725770" y="2690875"/>
                </a:lnTo>
                <a:lnTo>
                  <a:pt x="813259" y="2690875"/>
                </a:lnTo>
                <a:lnTo>
                  <a:pt x="813273" y="2690875"/>
                </a:lnTo>
                <a:lnTo>
                  <a:pt x="818269" y="2673636"/>
                </a:lnTo>
                <a:lnTo>
                  <a:pt x="820196" y="2654788"/>
                </a:lnTo>
                <a:lnTo>
                  <a:pt x="833127" y="2622359"/>
                </a:lnTo>
                <a:lnTo>
                  <a:pt x="846192" y="2577292"/>
                </a:lnTo>
                <a:lnTo>
                  <a:pt x="856734" y="2563166"/>
                </a:lnTo>
                <a:lnTo>
                  <a:pt x="862739" y="2548101"/>
                </a:lnTo>
                <a:lnTo>
                  <a:pt x="897349" y="2508748"/>
                </a:lnTo>
                <a:lnTo>
                  <a:pt x="915823" y="2483994"/>
                </a:lnTo>
                <a:lnTo>
                  <a:pt x="926895" y="2475150"/>
                </a:lnTo>
                <a:lnTo>
                  <a:pt x="937650" y="2462916"/>
                </a:lnTo>
                <a:cubicBezTo>
                  <a:pt x="981985" y="2426907"/>
                  <a:pt x="1035679" y="2401682"/>
                  <a:pt x="1094597" y="2391320"/>
                </a:cubicBezTo>
                <a:lnTo>
                  <a:pt x="1145816" y="2386872"/>
                </a:lnTo>
                <a:lnTo>
                  <a:pt x="1145816" y="2386077"/>
                </a:lnTo>
                <a:cubicBezTo>
                  <a:pt x="1148921" y="2386077"/>
                  <a:pt x="1148921" y="2386077"/>
                  <a:pt x="1148921" y="2386077"/>
                </a:cubicBezTo>
                <a:cubicBezTo>
                  <a:pt x="1148921" y="2386077"/>
                  <a:pt x="1148921" y="2386077"/>
                  <a:pt x="1152027" y="2386077"/>
                </a:cubicBezTo>
                <a:lnTo>
                  <a:pt x="1154965" y="2386077"/>
                </a:lnTo>
                <a:close/>
                <a:moveTo>
                  <a:pt x="2565784" y="2202783"/>
                </a:moveTo>
                <a:lnTo>
                  <a:pt x="2578487" y="2225179"/>
                </a:lnTo>
                <a:lnTo>
                  <a:pt x="2603093" y="2264359"/>
                </a:lnTo>
                <a:lnTo>
                  <a:pt x="2610026" y="2272947"/>
                </a:lnTo>
                <a:lnTo>
                  <a:pt x="2642542" y="2310231"/>
                </a:lnTo>
                <a:lnTo>
                  <a:pt x="2642970" y="2306384"/>
                </a:lnTo>
                <a:lnTo>
                  <a:pt x="2650840" y="2211284"/>
                </a:lnTo>
                <a:lnTo>
                  <a:pt x="2646489" y="2210693"/>
                </a:lnTo>
                <a:cubicBezTo>
                  <a:pt x="2643752" y="2210321"/>
                  <a:pt x="2639645" y="2209763"/>
                  <a:pt x="2633487" y="2208925"/>
                </a:cubicBezTo>
                <a:lnTo>
                  <a:pt x="2621182" y="2207253"/>
                </a:lnTo>
                <a:close/>
                <a:moveTo>
                  <a:pt x="10960470" y="2046601"/>
                </a:moveTo>
                <a:lnTo>
                  <a:pt x="10937308" y="2081629"/>
                </a:lnTo>
                <a:cubicBezTo>
                  <a:pt x="10937308" y="2081629"/>
                  <a:pt x="10937308" y="2081629"/>
                  <a:pt x="10937308" y="3014574"/>
                </a:cubicBezTo>
                <a:lnTo>
                  <a:pt x="10937308" y="3133711"/>
                </a:lnTo>
                <a:lnTo>
                  <a:pt x="10937990" y="3134251"/>
                </a:lnTo>
                <a:lnTo>
                  <a:pt x="10937990" y="2081284"/>
                </a:lnTo>
                <a:close/>
                <a:moveTo>
                  <a:pt x="6208575" y="2026397"/>
                </a:moveTo>
                <a:cubicBezTo>
                  <a:pt x="6208575" y="2091682"/>
                  <a:pt x="6208575" y="2536122"/>
                  <a:pt x="6208575" y="2536122"/>
                </a:cubicBezTo>
                <a:cubicBezTo>
                  <a:pt x="6208575" y="2536122"/>
                  <a:pt x="6208575" y="2536122"/>
                  <a:pt x="6597943" y="2536122"/>
                </a:cubicBezTo>
                <a:cubicBezTo>
                  <a:pt x="6597943" y="2536122"/>
                  <a:pt x="6408382" y="2187099"/>
                  <a:pt x="6208575" y="2026397"/>
                </a:cubicBezTo>
                <a:close/>
                <a:moveTo>
                  <a:pt x="11245806" y="1609787"/>
                </a:moveTo>
                <a:lnTo>
                  <a:pt x="11550381" y="2081284"/>
                </a:lnTo>
                <a:lnTo>
                  <a:pt x="11550381" y="2972709"/>
                </a:lnTo>
                <a:lnTo>
                  <a:pt x="11552173" y="2972709"/>
                </a:lnTo>
                <a:cubicBezTo>
                  <a:pt x="11559979" y="2972709"/>
                  <a:pt x="11591200" y="2972709"/>
                  <a:pt x="11716086" y="2972709"/>
                </a:cubicBezTo>
                <a:cubicBezTo>
                  <a:pt x="11716086" y="2972709"/>
                  <a:pt x="11716086" y="2972709"/>
                  <a:pt x="11716086" y="3469088"/>
                </a:cubicBezTo>
                <a:lnTo>
                  <a:pt x="11716086" y="3575086"/>
                </a:lnTo>
                <a:lnTo>
                  <a:pt x="11717206" y="3575086"/>
                </a:lnTo>
                <a:lnTo>
                  <a:pt x="11717206" y="2862263"/>
                </a:lnTo>
                <a:lnTo>
                  <a:pt x="11744266" y="2862263"/>
                </a:lnTo>
                <a:lnTo>
                  <a:pt x="11744266" y="2858069"/>
                </a:lnTo>
                <a:cubicBezTo>
                  <a:pt x="11744266" y="2845480"/>
                  <a:pt x="11744266" y="2795121"/>
                  <a:pt x="11744266" y="2593686"/>
                </a:cubicBezTo>
                <a:cubicBezTo>
                  <a:pt x="11744266" y="2593686"/>
                  <a:pt x="11744266" y="2593686"/>
                  <a:pt x="12059363" y="2593686"/>
                </a:cubicBezTo>
                <a:cubicBezTo>
                  <a:pt x="12059363" y="2593686"/>
                  <a:pt x="12059363" y="2593686"/>
                  <a:pt x="12059363" y="2023897"/>
                </a:cubicBezTo>
                <a:cubicBezTo>
                  <a:pt x="12059363" y="2023897"/>
                  <a:pt x="12059363" y="2023897"/>
                  <a:pt x="12305293" y="2023897"/>
                </a:cubicBezTo>
                <a:cubicBezTo>
                  <a:pt x="12305293" y="2023897"/>
                  <a:pt x="12305293" y="2023897"/>
                  <a:pt x="12305293" y="3577968"/>
                </a:cubicBezTo>
                <a:lnTo>
                  <a:pt x="12305293" y="3722511"/>
                </a:lnTo>
                <a:lnTo>
                  <a:pt x="12213069" y="3722511"/>
                </a:lnTo>
                <a:lnTo>
                  <a:pt x="12213069" y="3713498"/>
                </a:lnTo>
                <a:cubicBezTo>
                  <a:pt x="12213069" y="3693731"/>
                  <a:pt x="12213069" y="3654198"/>
                  <a:pt x="12213069" y="3575130"/>
                </a:cubicBezTo>
                <a:lnTo>
                  <a:pt x="12212958" y="3575130"/>
                </a:lnTo>
                <a:lnTo>
                  <a:pt x="12212958" y="3722511"/>
                </a:lnTo>
                <a:lnTo>
                  <a:pt x="10750299" y="3722511"/>
                </a:lnTo>
                <a:lnTo>
                  <a:pt x="10750299" y="3665739"/>
                </a:lnTo>
                <a:cubicBezTo>
                  <a:pt x="10750299" y="3372154"/>
                  <a:pt x="10750299" y="2963689"/>
                  <a:pt x="10750299" y="2395390"/>
                </a:cubicBezTo>
                <a:cubicBezTo>
                  <a:pt x="10750299" y="2395390"/>
                  <a:pt x="10750299" y="2395390"/>
                  <a:pt x="10834837" y="2440571"/>
                </a:cubicBezTo>
                <a:cubicBezTo>
                  <a:pt x="10834837" y="2440571"/>
                  <a:pt x="10834837" y="2440571"/>
                  <a:pt x="10834837" y="1903413"/>
                </a:cubicBezTo>
                <a:cubicBezTo>
                  <a:pt x="10834837" y="1903413"/>
                  <a:pt x="10834837" y="1903413"/>
                  <a:pt x="10982429" y="1903413"/>
                </a:cubicBezTo>
                <a:lnTo>
                  <a:pt x="11053278" y="1903413"/>
                </a:lnTo>
                <a:lnTo>
                  <a:pt x="11242565" y="1611374"/>
                </a:lnTo>
                <a:lnTo>
                  <a:pt x="11124299" y="2086046"/>
                </a:lnTo>
                <a:lnTo>
                  <a:pt x="11124469" y="2086046"/>
                </a:lnTo>
                <a:lnTo>
                  <a:pt x="11125038" y="2083786"/>
                </a:lnTo>
                <a:cubicBezTo>
                  <a:pt x="11127199" y="2075197"/>
                  <a:pt x="11135845" y="2040840"/>
                  <a:pt x="11170430" y="1903413"/>
                </a:cubicBezTo>
                <a:cubicBezTo>
                  <a:pt x="11170430" y="1903413"/>
                  <a:pt x="11170430" y="1903413"/>
                  <a:pt x="11226788" y="1903413"/>
                </a:cubicBezTo>
                <a:cubicBezTo>
                  <a:pt x="11226788" y="1903413"/>
                  <a:pt x="11226788" y="1903413"/>
                  <a:pt x="11226788" y="1918757"/>
                </a:cubicBezTo>
                <a:lnTo>
                  <a:pt x="11226788" y="1932567"/>
                </a:lnTo>
                <a:lnTo>
                  <a:pt x="11237702" y="1930408"/>
                </a:lnTo>
                <a:cubicBezTo>
                  <a:pt x="11281545" y="1930408"/>
                  <a:pt x="11317086" y="1965235"/>
                  <a:pt x="11317086" y="2008196"/>
                </a:cubicBezTo>
                <a:cubicBezTo>
                  <a:pt x="11317086" y="2051157"/>
                  <a:pt x="11281545" y="2085984"/>
                  <a:pt x="11237702" y="2085984"/>
                </a:cubicBezTo>
                <a:lnTo>
                  <a:pt x="11226788" y="2083825"/>
                </a:lnTo>
                <a:lnTo>
                  <a:pt x="11226788" y="2086046"/>
                </a:lnTo>
                <a:lnTo>
                  <a:pt x="11362452" y="2086046"/>
                </a:lnTo>
                <a:lnTo>
                  <a:pt x="11242565" y="1611374"/>
                </a:lnTo>
                <a:close/>
                <a:moveTo>
                  <a:pt x="7558484" y="1533541"/>
                </a:moveTo>
                <a:lnTo>
                  <a:pt x="7642728" y="1533541"/>
                </a:lnTo>
                <a:lnTo>
                  <a:pt x="7642728" y="1544514"/>
                </a:lnTo>
                <a:lnTo>
                  <a:pt x="7642728" y="1579579"/>
                </a:lnTo>
                <a:lnTo>
                  <a:pt x="7642728" y="1581166"/>
                </a:lnTo>
                <a:lnTo>
                  <a:pt x="7642728" y="1622442"/>
                </a:lnTo>
                <a:lnTo>
                  <a:pt x="7642728" y="1627204"/>
                </a:lnTo>
                <a:lnTo>
                  <a:pt x="7642728" y="1666892"/>
                </a:lnTo>
                <a:lnTo>
                  <a:pt x="7642728" y="1670067"/>
                </a:lnTo>
                <a:lnTo>
                  <a:pt x="7642728" y="1712930"/>
                </a:lnTo>
                <a:lnTo>
                  <a:pt x="7642728" y="1714517"/>
                </a:lnTo>
                <a:lnTo>
                  <a:pt x="7642728" y="1757380"/>
                </a:lnTo>
                <a:lnTo>
                  <a:pt x="7642728" y="1760555"/>
                </a:lnTo>
                <a:lnTo>
                  <a:pt x="7642728" y="1803418"/>
                </a:lnTo>
                <a:lnTo>
                  <a:pt x="7642728" y="1805005"/>
                </a:lnTo>
                <a:lnTo>
                  <a:pt x="7642728" y="1847868"/>
                </a:lnTo>
                <a:lnTo>
                  <a:pt x="7642728" y="1851043"/>
                </a:lnTo>
                <a:lnTo>
                  <a:pt x="7642728" y="1892318"/>
                </a:lnTo>
                <a:lnTo>
                  <a:pt x="7642728" y="1895493"/>
                </a:lnTo>
                <a:lnTo>
                  <a:pt x="7642728" y="1941531"/>
                </a:lnTo>
                <a:lnTo>
                  <a:pt x="7558484" y="1941531"/>
                </a:lnTo>
                <a:lnTo>
                  <a:pt x="7558484" y="1895493"/>
                </a:lnTo>
                <a:lnTo>
                  <a:pt x="7558484" y="1892318"/>
                </a:lnTo>
                <a:lnTo>
                  <a:pt x="7558484" y="1851043"/>
                </a:lnTo>
                <a:lnTo>
                  <a:pt x="7558484" y="1847868"/>
                </a:lnTo>
                <a:lnTo>
                  <a:pt x="7558484" y="1805005"/>
                </a:lnTo>
                <a:lnTo>
                  <a:pt x="7558484" y="1803418"/>
                </a:lnTo>
                <a:lnTo>
                  <a:pt x="7558484" y="1760555"/>
                </a:lnTo>
                <a:lnTo>
                  <a:pt x="7558484" y="1757380"/>
                </a:lnTo>
                <a:lnTo>
                  <a:pt x="7558484" y="1714517"/>
                </a:lnTo>
                <a:lnTo>
                  <a:pt x="7558484" y="1712930"/>
                </a:lnTo>
                <a:lnTo>
                  <a:pt x="7558484" y="1670067"/>
                </a:lnTo>
                <a:lnTo>
                  <a:pt x="7558484" y="1666892"/>
                </a:lnTo>
                <a:lnTo>
                  <a:pt x="7558484" y="1627204"/>
                </a:lnTo>
                <a:lnTo>
                  <a:pt x="7558484" y="1622442"/>
                </a:lnTo>
                <a:lnTo>
                  <a:pt x="7558484" y="1581166"/>
                </a:lnTo>
                <a:lnTo>
                  <a:pt x="7558484" y="1579579"/>
                </a:lnTo>
                <a:close/>
                <a:moveTo>
                  <a:pt x="1989231" y="1441086"/>
                </a:moveTo>
                <a:lnTo>
                  <a:pt x="1988695" y="1452607"/>
                </a:lnTo>
                <a:lnTo>
                  <a:pt x="1988961" y="1446877"/>
                </a:lnTo>
                <a:close/>
                <a:moveTo>
                  <a:pt x="1990194" y="1420396"/>
                </a:moveTo>
                <a:lnTo>
                  <a:pt x="1989661" y="1431892"/>
                </a:lnTo>
                <a:lnTo>
                  <a:pt x="1989231" y="1441086"/>
                </a:lnTo>
                <a:close/>
                <a:moveTo>
                  <a:pt x="6080978" y="1368460"/>
                </a:moveTo>
                <a:lnTo>
                  <a:pt x="6121479" y="1368460"/>
                </a:lnTo>
                <a:lnTo>
                  <a:pt x="6121479" y="1812965"/>
                </a:lnTo>
                <a:lnTo>
                  <a:pt x="6080978" y="1812965"/>
                </a:lnTo>
                <a:close/>
                <a:moveTo>
                  <a:pt x="469822" y="1366890"/>
                </a:moveTo>
                <a:cubicBezTo>
                  <a:pt x="469822" y="1366890"/>
                  <a:pt x="469822" y="1366890"/>
                  <a:pt x="539484" y="1366890"/>
                </a:cubicBezTo>
                <a:lnTo>
                  <a:pt x="539484" y="1369942"/>
                </a:lnTo>
                <a:cubicBezTo>
                  <a:pt x="539484" y="1369942"/>
                  <a:pt x="539484" y="1369942"/>
                  <a:pt x="469822" y="1369942"/>
                </a:cubicBezTo>
                <a:cubicBezTo>
                  <a:pt x="469822" y="1369942"/>
                  <a:pt x="469822" y="1369942"/>
                  <a:pt x="469822" y="1366890"/>
                </a:cubicBezTo>
                <a:close/>
                <a:moveTo>
                  <a:pt x="1993028" y="1359587"/>
                </a:moveTo>
                <a:lnTo>
                  <a:pt x="1991020" y="1402711"/>
                </a:lnTo>
                <a:lnTo>
                  <a:pt x="1990194" y="1420396"/>
                </a:lnTo>
                <a:close/>
                <a:moveTo>
                  <a:pt x="10238104" y="1343060"/>
                </a:moveTo>
                <a:lnTo>
                  <a:pt x="10279980" y="1343060"/>
                </a:lnTo>
                <a:lnTo>
                  <a:pt x="10330452" y="1343060"/>
                </a:lnTo>
                <a:cubicBezTo>
                  <a:pt x="10410779" y="1343060"/>
                  <a:pt x="10456679" y="1343060"/>
                  <a:pt x="10482908" y="1343060"/>
                </a:cubicBezTo>
                <a:lnTo>
                  <a:pt x="10492457" y="1343060"/>
                </a:lnTo>
                <a:lnTo>
                  <a:pt x="10503127" y="1343060"/>
                </a:lnTo>
                <a:cubicBezTo>
                  <a:pt x="10517881" y="1343060"/>
                  <a:pt x="10517881" y="1343060"/>
                  <a:pt x="10517881" y="1343060"/>
                </a:cubicBezTo>
                <a:lnTo>
                  <a:pt x="10707928" y="1343060"/>
                </a:lnTo>
                <a:lnTo>
                  <a:pt x="10685970" y="2282834"/>
                </a:lnTo>
                <a:lnTo>
                  <a:pt x="10717657" y="2282834"/>
                </a:lnTo>
                <a:lnTo>
                  <a:pt x="10750058" y="2282834"/>
                </a:lnTo>
                <a:lnTo>
                  <a:pt x="10750058" y="3722511"/>
                </a:lnTo>
                <a:lnTo>
                  <a:pt x="10027880" y="3722511"/>
                </a:lnTo>
                <a:lnTo>
                  <a:pt x="10027880" y="3718205"/>
                </a:lnTo>
                <a:cubicBezTo>
                  <a:pt x="10027880" y="3718205"/>
                  <a:pt x="10027880" y="3718205"/>
                  <a:pt x="10027880" y="3680554"/>
                </a:cubicBezTo>
                <a:cubicBezTo>
                  <a:pt x="10027880" y="3680554"/>
                  <a:pt x="10027880" y="3680554"/>
                  <a:pt x="10027880" y="3660473"/>
                </a:cubicBezTo>
                <a:cubicBezTo>
                  <a:pt x="10027880" y="3660473"/>
                  <a:pt x="10027880" y="3660473"/>
                  <a:pt x="10027880" y="3622822"/>
                </a:cubicBezTo>
                <a:cubicBezTo>
                  <a:pt x="10027880" y="3622822"/>
                  <a:pt x="10027880" y="3622822"/>
                  <a:pt x="10027880" y="3602741"/>
                </a:cubicBezTo>
                <a:cubicBezTo>
                  <a:pt x="10027880" y="3602741"/>
                  <a:pt x="10027880" y="3602741"/>
                  <a:pt x="10027880" y="3565090"/>
                </a:cubicBezTo>
                <a:cubicBezTo>
                  <a:pt x="10027880" y="3565090"/>
                  <a:pt x="10027880" y="3565090"/>
                  <a:pt x="10027880" y="3545009"/>
                </a:cubicBezTo>
                <a:cubicBezTo>
                  <a:pt x="10027880" y="3545009"/>
                  <a:pt x="10027880" y="3545009"/>
                  <a:pt x="10027880" y="3507358"/>
                </a:cubicBezTo>
                <a:cubicBezTo>
                  <a:pt x="10027880" y="3507358"/>
                  <a:pt x="10027880" y="3507358"/>
                  <a:pt x="10027880" y="3487277"/>
                </a:cubicBezTo>
                <a:cubicBezTo>
                  <a:pt x="10027880" y="3487277"/>
                  <a:pt x="10027880" y="3487277"/>
                  <a:pt x="10027880" y="3449626"/>
                </a:cubicBezTo>
                <a:cubicBezTo>
                  <a:pt x="10027880" y="3449626"/>
                  <a:pt x="10027880" y="3449626"/>
                  <a:pt x="10027880" y="3429545"/>
                </a:cubicBezTo>
                <a:cubicBezTo>
                  <a:pt x="10027880" y="3429545"/>
                  <a:pt x="10027880" y="3429545"/>
                  <a:pt x="10027880" y="3391894"/>
                </a:cubicBezTo>
                <a:cubicBezTo>
                  <a:pt x="10027880" y="3391894"/>
                  <a:pt x="10027880" y="3391894"/>
                  <a:pt x="10027880" y="3371813"/>
                </a:cubicBezTo>
                <a:cubicBezTo>
                  <a:pt x="10027880" y="3371813"/>
                  <a:pt x="10027880" y="3371813"/>
                  <a:pt x="10027880" y="3334162"/>
                </a:cubicBezTo>
                <a:cubicBezTo>
                  <a:pt x="10027880" y="3334162"/>
                  <a:pt x="10027880" y="3334162"/>
                  <a:pt x="10027880" y="3314081"/>
                </a:cubicBezTo>
                <a:cubicBezTo>
                  <a:pt x="10027880" y="3314081"/>
                  <a:pt x="10027880" y="3314081"/>
                  <a:pt x="10027880" y="3276430"/>
                </a:cubicBezTo>
                <a:cubicBezTo>
                  <a:pt x="10027880" y="3276430"/>
                  <a:pt x="10027880" y="3276430"/>
                  <a:pt x="10027880" y="3256349"/>
                </a:cubicBezTo>
                <a:cubicBezTo>
                  <a:pt x="10027880" y="3256349"/>
                  <a:pt x="10027880" y="3256349"/>
                  <a:pt x="10027880" y="3218698"/>
                </a:cubicBezTo>
                <a:cubicBezTo>
                  <a:pt x="10027880" y="3218698"/>
                  <a:pt x="10027880" y="3218698"/>
                  <a:pt x="10027880" y="3198617"/>
                </a:cubicBezTo>
                <a:cubicBezTo>
                  <a:pt x="10027880" y="3198617"/>
                  <a:pt x="10027880" y="3198617"/>
                  <a:pt x="10027880" y="3160966"/>
                </a:cubicBezTo>
                <a:cubicBezTo>
                  <a:pt x="10027880" y="3160966"/>
                  <a:pt x="10027880" y="3160966"/>
                  <a:pt x="10027880" y="3140885"/>
                </a:cubicBezTo>
                <a:cubicBezTo>
                  <a:pt x="10027880" y="3140885"/>
                  <a:pt x="10027880" y="3140885"/>
                  <a:pt x="10027880" y="3103234"/>
                </a:cubicBezTo>
                <a:cubicBezTo>
                  <a:pt x="10027880" y="3103234"/>
                  <a:pt x="10027880" y="3103234"/>
                  <a:pt x="10027880" y="3083153"/>
                </a:cubicBezTo>
                <a:cubicBezTo>
                  <a:pt x="10027880" y="3083153"/>
                  <a:pt x="10027880" y="3083153"/>
                  <a:pt x="10027880" y="3048012"/>
                </a:cubicBezTo>
                <a:cubicBezTo>
                  <a:pt x="10027880" y="3048012"/>
                  <a:pt x="10027880" y="3048012"/>
                  <a:pt x="10027880" y="3025421"/>
                </a:cubicBezTo>
                <a:cubicBezTo>
                  <a:pt x="10027880" y="3025421"/>
                  <a:pt x="10027880" y="3025421"/>
                  <a:pt x="10027880" y="2990280"/>
                </a:cubicBezTo>
                <a:cubicBezTo>
                  <a:pt x="10027880" y="2990280"/>
                  <a:pt x="10027880" y="2990280"/>
                  <a:pt x="10027880" y="2967689"/>
                </a:cubicBezTo>
                <a:cubicBezTo>
                  <a:pt x="10027880" y="2967689"/>
                  <a:pt x="10027880" y="2967689"/>
                  <a:pt x="10027880" y="2932548"/>
                </a:cubicBezTo>
                <a:cubicBezTo>
                  <a:pt x="10027880" y="2932548"/>
                  <a:pt x="10027880" y="2932548"/>
                  <a:pt x="10027880" y="2909957"/>
                </a:cubicBezTo>
                <a:cubicBezTo>
                  <a:pt x="10027880" y="2909957"/>
                  <a:pt x="10027880" y="2909957"/>
                  <a:pt x="10027880" y="2874816"/>
                </a:cubicBezTo>
                <a:cubicBezTo>
                  <a:pt x="10027880" y="2874816"/>
                  <a:pt x="10027880" y="2874816"/>
                  <a:pt x="10027880" y="2854735"/>
                </a:cubicBezTo>
                <a:cubicBezTo>
                  <a:pt x="10027880" y="2854735"/>
                  <a:pt x="10027880" y="2854735"/>
                  <a:pt x="10027880" y="2817084"/>
                </a:cubicBezTo>
                <a:cubicBezTo>
                  <a:pt x="10027880" y="2817084"/>
                  <a:pt x="10027880" y="2817084"/>
                  <a:pt x="10027880" y="2797003"/>
                </a:cubicBezTo>
                <a:cubicBezTo>
                  <a:pt x="10027880" y="2797003"/>
                  <a:pt x="10027880" y="2797003"/>
                  <a:pt x="10027880" y="2759352"/>
                </a:cubicBezTo>
                <a:cubicBezTo>
                  <a:pt x="10027880" y="2759352"/>
                  <a:pt x="10027880" y="2759352"/>
                  <a:pt x="10027880" y="2739271"/>
                </a:cubicBezTo>
                <a:cubicBezTo>
                  <a:pt x="10027880" y="2739271"/>
                  <a:pt x="10027880" y="2739271"/>
                  <a:pt x="10027880" y="2701620"/>
                </a:cubicBezTo>
                <a:cubicBezTo>
                  <a:pt x="10027880" y="2701620"/>
                  <a:pt x="10027880" y="2701620"/>
                  <a:pt x="10027880" y="2681539"/>
                </a:cubicBezTo>
                <a:cubicBezTo>
                  <a:pt x="10027880" y="2681539"/>
                  <a:pt x="10027880" y="2681539"/>
                  <a:pt x="10027880" y="2643888"/>
                </a:cubicBezTo>
                <a:cubicBezTo>
                  <a:pt x="10027880" y="2643888"/>
                  <a:pt x="10027880" y="2643888"/>
                  <a:pt x="10027880" y="2623807"/>
                </a:cubicBezTo>
                <a:cubicBezTo>
                  <a:pt x="10027880" y="2623807"/>
                  <a:pt x="10027880" y="2623807"/>
                  <a:pt x="10027880" y="2586156"/>
                </a:cubicBezTo>
                <a:cubicBezTo>
                  <a:pt x="10027880" y="2586156"/>
                  <a:pt x="10027880" y="2586156"/>
                  <a:pt x="10027880" y="2578626"/>
                </a:cubicBezTo>
                <a:cubicBezTo>
                  <a:pt x="10027880" y="2578626"/>
                  <a:pt x="10027880" y="2578626"/>
                  <a:pt x="10035566" y="2578626"/>
                </a:cubicBezTo>
                <a:cubicBezTo>
                  <a:pt x="10035566" y="2578626"/>
                  <a:pt x="10035566" y="2578626"/>
                  <a:pt x="10035566" y="2350208"/>
                </a:cubicBezTo>
                <a:cubicBezTo>
                  <a:pt x="10035566" y="2350208"/>
                  <a:pt x="10035566" y="2350208"/>
                  <a:pt x="10094486" y="2382839"/>
                </a:cubicBezTo>
                <a:cubicBezTo>
                  <a:pt x="10107295" y="2566075"/>
                  <a:pt x="10122665" y="2776923"/>
                  <a:pt x="10140597" y="3012871"/>
                </a:cubicBezTo>
                <a:cubicBezTo>
                  <a:pt x="10147002" y="3096645"/>
                  <a:pt x="10153206" y="3176850"/>
                  <a:pt x="10159206" y="3253555"/>
                </a:cubicBezTo>
                <a:lnTo>
                  <a:pt x="10165424" y="3332163"/>
                </a:lnTo>
                <a:lnTo>
                  <a:pt x="10166626" y="3332163"/>
                </a:lnTo>
                <a:lnTo>
                  <a:pt x="10157514" y="3217332"/>
                </a:lnTo>
                <a:cubicBezTo>
                  <a:pt x="10152353" y="3151621"/>
                  <a:pt x="10147047" y="3083402"/>
                  <a:pt x="10141602" y="3012633"/>
                </a:cubicBezTo>
                <a:cubicBezTo>
                  <a:pt x="10054475" y="1880336"/>
                  <a:pt x="10033975" y="1355613"/>
                  <a:pt x="10033975" y="1355613"/>
                </a:cubicBezTo>
                <a:cubicBezTo>
                  <a:pt x="10033975" y="1355613"/>
                  <a:pt x="10033975" y="1355613"/>
                  <a:pt x="10198779" y="1347203"/>
                </a:cubicBezTo>
                <a:lnTo>
                  <a:pt x="10238237" y="1345190"/>
                </a:lnTo>
                <a:close/>
                <a:moveTo>
                  <a:pt x="1994366" y="1330892"/>
                </a:moveTo>
                <a:lnTo>
                  <a:pt x="1993028" y="1359587"/>
                </a:lnTo>
                <a:lnTo>
                  <a:pt x="1993260" y="1354601"/>
                </a:lnTo>
                <a:close/>
                <a:moveTo>
                  <a:pt x="1995072" y="1315726"/>
                </a:moveTo>
                <a:lnTo>
                  <a:pt x="1994366" y="1330892"/>
                </a:lnTo>
                <a:lnTo>
                  <a:pt x="1994877" y="1319899"/>
                </a:lnTo>
                <a:close/>
                <a:moveTo>
                  <a:pt x="7742458" y="1257859"/>
                </a:moveTo>
                <a:cubicBezTo>
                  <a:pt x="7742458" y="1257859"/>
                  <a:pt x="7742458" y="1257859"/>
                  <a:pt x="7742458" y="1280490"/>
                </a:cubicBezTo>
                <a:cubicBezTo>
                  <a:pt x="7742458" y="1280490"/>
                  <a:pt x="7742458" y="1280490"/>
                  <a:pt x="7803830" y="1280490"/>
                </a:cubicBezTo>
                <a:lnTo>
                  <a:pt x="7803830" y="1257859"/>
                </a:lnTo>
                <a:cubicBezTo>
                  <a:pt x="7803830" y="1257859"/>
                  <a:pt x="7803830" y="1257859"/>
                  <a:pt x="7742458" y="1257859"/>
                </a:cubicBezTo>
                <a:close/>
                <a:moveTo>
                  <a:pt x="2001078" y="1186842"/>
                </a:moveTo>
                <a:lnTo>
                  <a:pt x="1996607" y="1282831"/>
                </a:lnTo>
                <a:lnTo>
                  <a:pt x="1995072" y="1315726"/>
                </a:lnTo>
                <a:lnTo>
                  <a:pt x="1999545" y="1219737"/>
                </a:lnTo>
                <a:close/>
                <a:moveTo>
                  <a:pt x="2001785" y="1171676"/>
                </a:moveTo>
                <a:lnTo>
                  <a:pt x="2001078" y="1186842"/>
                </a:lnTo>
                <a:lnTo>
                  <a:pt x="2001271" y="1182669"/>
                </a:lnTo>
                <a:close/>
                <a:moveTo>
                  <a:pt x="2003121" y="1142981"/>
                </a:moveTo>
                <a:lnTo>
                  <a:pt x="2002889" y="1147967"/>
                </a:lnTo>
                <a:lnTo>
                  <a:pt x="2001785" y="1171676"/>
                </a:lnTo>
                <a:close/>
                <a:moveTo>
                  <a:pt x="262344" y="1113683"/>
                </a:moveTo>
                <a:lnTo>
                  <a:pt x="261655" y="1116779"/>
                </a:lnTo>
                <a:lnTo>
                  <a:pt x="261674" y="1116690"/>
                </a:lnTo>
                <a:close/>
                <a:moveTo>
                  <a:pt x="267151" y="1092123"/>
                </a:moveTo>
                <a:lnTo>
                  <a:pt x="262344" y="1113683"/>
                </a:lnTo>
                <a:lnTo>
                  <a:pt x="263380" y="1109036"/>
                </a:lnTo>
                <a:close/>
                <a:moveTo>
                  <a:pt x="270308" y="1077963"/>
                </a:moveTo>
                <a:lnTo>
                  <a:pt x="268012" y="1088260"/>
                </a:lnTo>
                <a:lnTo>
                  <a:pt x="267151" y="1092123"/>
                </a:lnTo>
                <a:close/>
                <a:moveTo>
                  <a:pt x="272169" y="1069613"/>
                </a:moveTo>
                <a:lnTo>
                  <a:pt x="270308" y="1077963"/>
                </a:lnTo>
                <a:lnTo>
                  <a:pt x="270449" y="1077325"/>
                </a:lnTo>
                <a:close/>
                <a:moveTo>
                  <a:pt x="276117" y="1051901"/>
                </a:moveTo>
                <a:lnTo>
                  <a:pt x="272169" y="1069613"/>
                </a:lnTo>
                <a:lnTo>
                  <a:pt x="275081" y="1056549"/>
                </a:lnTo>
                <a:close/>
                <a:moveTo>
                  <a:pt x="277031" y="1047801"/>
                </a:moveTo>
                <a:lnTo>
                  <a:pt x="276117" y="1051901"/>
                </a:lnTo>
                <a:lnTo>
                  <a:pt x="276787" y="1048894"/>
                </a:lnTo>
                <a:cubicBezTo>
                  <a:pt x="277031" y="1047801"/>
                  <a:pt x="277031" y="1047801"/>
                  <a:pt x="277031" y="1047801"/>
                </a:cubicBezTo>
                <a:close/>
                <a:moveTo>
                  <a:pt x="4155691" y="1041533"/>
                </a:moveTo>
                <a:lnTo>
                  <a:pt x="4025446" y="1226214"/>
                </a:lnTo>
                <a:lnTo>
                  <a:pt x="4022567" y="1230359"/>
                </a:lnTo>
                <a:lnTo>
                  <a:pt x="4178028" y="1230359"/>
                </a:lnTo>
                <a:lnTo>
                  <a:pt x="4178028" y="1227498"/>
                </a:lnTo>
                <a:cubicBezTo>
                  <a:pt x="4178028" y="1220111"/>
                  <a:pt x="4178028" y="1194258"/>
                  <a:pt x="4178028" y="1103769"/>
                </a:cubicBezTo>
                <a:lnTo>
                  <a:pt x="4178028" y="1041533"/>
                </a:lnTo>
                <a:close/>
                <a:moveTo>
                  <a:pt x="4200732" y="1041446"/>
                </a:moveTo>
                <a:lnTo>
                  <a:pt x="4200732" y="1074529"/>
                </a:lnTo>
                <a:cubicBezTo>
                  <a:pt x="4200732" y="1134736"/>
                  <a:pt x="4200732" y="1185368"/>
                  <a:pt x="4200732" y="1227947"/>
                </a:cubicBezTo>
                <a:lnTo>
                  <a:pt x="4200732" y="1230359"/>
                </a:lnTo>
                <a:lnTo>
                  <a:pt x="4356259" y="1230359"/>
                </a:lnTo>
                <a:lnTo>
                  <a:pt x="4223030" y="1041446"/>
                </a:lnTo>
                <a:close/>
                <a:moveTo>
                  <a:pt x="279512" y="1038124"/>
                </a:moveTo>
                <a:lnTo>
                  <a:pt x="277037" y="1047770"/>
                </a:lnTo>
                <a:cubicBezTo>
                  <a:pt x="277037" y="1047770"/>
                  <a:pt x="277037" y="1047770"/>
                  <a:pt x="278206" y="1043211"/>
                </a:cubicBezTo>
                <a:close/>
                <a:moveTo>
                  <a:pt x="283918" y="1020948"/>
                </a:moveTo>
                <a:lnTo>
                  <a:pt x="280984" y="1032385"/>
                </a:lnTo>
                <a:lnTo>
                  <a:pt x="279512" y="1038124"/>
                </a:lnTo>
                <a:lnTo>
                  <a:pt x="282446" y="1026687"/>
                </a:lnTo>
                <a:close/>
                <a:moveTo>
                  <a:pt x="286393" y="1011302"/>
                </a:moveTo>
                <a:lnTo>
                  <a:pt x="283918" y="1020948"/>
                </a:lnTo>
                <a:lnTo>
                  <a:pt x="285224" y="1015860"/>
                </a:lnTo>
                <a:cubicBezTo>
                  <a:pt x="286393" y="1011302"/>
                  <a:pt x="286393" y="1011302"/>
                  <a:pt x="286393" y="1011302"/>
                </a:cubicBezTo>
                <a:close/>
                <a:moveTo>
                  <a:pt x="330494" y="611237"/>
                </a:moveTo>
                <a:lnTo>
                  <a:pt x="330494" y="611238"/>
                </a:lnTo>
                <a:lnTo>
                  <a:pt x="330494" y="611436"/>
                </a:lnTo>
                <a:lnTo>
                  <a:pt x="330499" y="611352"/>
                </a:lnTo>
                <a:lnTo>
                  <a:pt x="330499" y="611249"/>
                </a:lnTo>
                <a:lnTo>
                  <a:pt x="330499" y="611248"/>
                </a:lnTo>
                <a:lnTo>
                  <a:pt x="330502" y="611300"/>
                </a:lnTo>
                <a:lnTo>
                  <a:pt x="330505" y="611248"/>
                </a:lnTo>
                <a:lnTo>
                  <a:pt x="352084" y="976364"/>
                </a:lnTo>
                <a:lnTo>
                  <a:pt x="376781" y="976364"/>
                </a:lnTo>
                <a:cubicBezTo>
                  <a:pt x="381409" y="976364"/>
                  <a:pt x="386038" y="977951"/>
                  <a:pt x="389509" y="980730"/>
                </a:cubicBezTo>
                <a:lnTo>
                  <a:pt x="389514" y="980739"/>
                </a:lnTo>
                <a:lnTo>
                  <a:pt x="389523" y="980742"/>
                </a:lnTo>
                <a:cubicBezTo>
                  <a:pt x="392989" y="983520"/>
                  <a:pt x="395301" y="987488"/>
                  <a:pt x="395301" y="992251"/>
                </a:cubicBezTo>
                <a:cubicBezTo>
                  <a:pt x="395301" y="1001776"/>
                  <a:pt x="386055" y="1011301"/>
                  <a:pt x="376809" y="1011301"/>
                </a:cubicBezTo>
                <a:lnTo>
                  <a:pt x="375056" y="1011301"/>
                </a:lnTo>
                <a:lnTo>
                  <a:pt x="401934" y="1116657"/>
                </a:lnTo>
                <a:lnTo>
                  <a:pt x="405245" y="1118808"/>
                </a:lnTo>
                <a:cubicBezTo>
                  <a:pt x="424202" y="1137096"/>
                  <a:pt x="435807" y="1162242"/>
                  <a:pt x="435807" y="1189675"/>
                </a:cubicBezTo>
                <a:cubicBezTo>
                  <a:pt x="435807" y="1189675"/>
                  <a:pt x="435807" y="1189675"/>
                  <a:pt x="435807" y="1196152"/>
                </a:cubicBezTo>
                <a:lnTo>
                  <a:pt x="435807" y="1206451"/>
                </a:lnTo>
                <a:lnTo>
                  <a:pt x="442661" y="1216485"/>
                </a:lnTo>
                <a:cubicBezTo>
                  <a:pt x="448698" y="1230737"/>
                  <a:pt x="452008" y="1246509"/>
                  <a:pt x="452008" y="1263232"/>
                </a:cubicBezTo>
                <a:cubicBezTo>
                  <a:pt x="452008" y="1263232"/>
                  <a:pt x="452008" y="1263232"/>
                  <a:pt x="452008" y="1270833"/>
                </a:cubicBezTo>
                <a:lnTo>
                  <a:pt x="452008" y="1283145"/>
                </a:lnTo>
                <a:lnTo>
                  <a:pt x="456130" y="1289231"/>
                </a:lnTo>
                <a:cubicBezTo>
                  <a:pt x="462887" y="1305389"/>
                  <a:pt x="466582" y="1323311"/>
                  <a:pt x="466582" y="1342376"/>
                </a:cubicBezTo>
                <a:lnTo>
                  <a:pt x="466582" y="1342612"/>
                </a:lnTo>
                <a:lnTo>
                  <a:pt x="466587" y="1342642"/>
                </a:lnTo>
                <a:cubicBezTo>
                  <a:pt x="466587" y="1342642"/>
                  <a:pt x="466587" y="1342642"/>
                  <a:pt x="466587" y="1351430"/>
                </a:cubicBezTo>
                <a:lnTo>
                  <a:pt x="466587" y="1363960"/>
                </a:lnTo>
                <a:lnTo>
                  <a:pt x="469767" y="1370080"/>
                </a:lnTo>
                <a:lnTo>
                  <a:pt x="469822" y="1370080"/>
                </a:lnTo>
                <a:lnTo>
                  <a:pt x="469825" y="1370080"/>
                </a:lnTo>
                <a:lnTo>
                  <a:pt x="469822" y="1370065"/>
                </a:lnTo>
                <a:cubicBezTo>
                  <a:pt x="469822" y="1370065"/>
                  <a:pt x="469822" y="1370065"/>
                  <a:pt x="539484" y="1370065"/>
                </a:cubicBezTo>
                <a:lnTo>
                  <a:pt x="539484" y="1370080"/>
                </a:lnTo>
                <a:lnTo>
                  <a:pt x="539486" y="1370080"/>
                </a:lnTo>
                <a:lnTo>
                  <a:pt x="539486" y="1681233"/>
                </a:lnTo>
                <a:lnTo>
                  <a:pt x="588084" y="1681233"/>
                </a:lnTo>
                <a:lnTo>
                  <a:pt x="588085" y="1681233"/>
                </a:lnTo>
                <a:lnTo>
                  <a:pt x="588091" y="1681233"/>
                </a:lnTo>
                <a:lnTo>
                  <a:pt x="588091" y="3602100"/>
                </a:lnTo>
                <a:lnTo>
                  <a:pt x="662607" y="3602100"/>
                </a:lnTo>
                <a:lnTo>
                  <a:pt x="662607" y="3602126"/>
                </a:lnTo>
                <a:lnTo>
                  <a:pt x="662610" y="3602126"/>
                </a:lnTo>
                <a:lnTo>
                  <a:pt x="662610" y="3722511"/>
                </a:lnTo>
                <a:lnTo>
                  <a:pt x="0" y="3722511"/>
                </a:lnTo>
                <a:lnTo>
                  <a:pt x="0" y="3602100"/>
                </a:lnTo>
                <a:lnTo>
                  <a:pt x="1" y="3602100"/>
                </a:lnTo>
                <a:lnTo>
                  <a:pt x="76146" y="3602100"/>
                </a:lnTo>
                <a:lnTo>
                  <a:pt x="76146" y="3552888"/>
                </a:lnTo>
                <a:lnTo>
                  <a:pt x="76142" y="3552888"/>
                </a:lnTo>
                <a:lnTo>
                  <a:pt x="76142" y="3508438"/>
                </a:lnTo>
                <a:lnTo>
                  <a:pt x="76146" y="3508438"/>
                </a:lnTo>
                <a:lnTo>
                  <a:pt x="76146" y="3443350"/>
                </a:lnTo>
                <a:lnTo>
                  <a:pt x="76142" y="3443350"/>
                </a:lnTo>
                <a:lnTo>
                  <a:pt x="76142" y="3397312"/>
                </a:lnTo>
                <a:lnTo>
                  <a:pt x="76146" y="3397312"/>
                </a:lnTo>
                <a:lnTo>
                  <a:pt x="76146" y="3333812"/>
                </a:lnTo>
                <a:lnTo>
                  <a:pt x="76144" y="3333812"/>
                </a:lnTo>
                <a:lnTo>
                  <a:pt x="76144" y="3284599"/>
                </a:lnTo>
                <a:lnTo>
                  <a:pt x="76146" y="3284599"/>
                </a:lnTo>
                <a:lnTo>
                  <a:pt x="76146" y="3221099"/>
                </a:lnTo>
                <a:lnTo>
                  <a:pt x="76144" y="3221099"/>
                </a:lnTo>
                <a:lnTo>
                  <a:pt x="76144" y="3175061"/>
                </a:lnTo>
                <a:lnTo>
                  <a:pt x="76146" y="3175061"/>
                </a:lnTo>
                <a:lnTo>
                  <a:pt x="76146" y="3111561"/>
                </a:lnTo>
                <a:lnTo>
                  <a:pt x="76144" y="3111561"/>
                </a:lnTo>
                <a:lnTo>
                  <a:pt x="76144" y="3065523"/>
                </a:lnTo>
                <a:lnTo>
                  <a:pt x="76146" y="3065523"/>
                </a:lnTo>
                <a:lnTo>
                  <a:pt x="76146" y="3002023"/>
                </a:lnTo>
                <a:lnTo>
                  <a:pt x="76144" y="3002023"/>
                </a:lnTo>
                <a:lnTo>
                  <a:pt x="76144" y="2955985"/>
                </a:lnTo>
                <a:lnTo>
                  <a:pt x="76146" y="2955985"/>
                </a:lnTo>
                <a:lnTo>
                  <a:pt x="76146" y="2892485"/>
                </a:lnTo>
                <a:lnTo>
                  <a:pt x="76144" y="2892485"/>
                </a:lnTo>
                <a:lnTo>
                  <a:pt x="76144" y="2846447"/>
                </a:lnTo>
                <a:lnTo>
                  <a:pt x="76146" y="2846447"/>
                </a:lnTo>
                <a:lnTo>
                  <a:pt x="76146" y="2781359"/>
                </a:lnTo>
                <a:lnTo>
                  <a:pt x="76144" y="2781359"/>
                </a:lnTo>
                <a:lnTo>
                  <a:pt x="76144" y="2733734"/>
                </a:lnTo>
                <a:lnTo>
                  <a:pt x="76146" y="2733734"/>
                </a:lnTo>
                <a:lnTo>
                  <a:pt x="76146" y="2668646"/>
                </a:lnTo>
                <a:lnTo>
                  <a:pt x="76144" y="2668646"/>
                </a:lnTo>
                <a:lnTo>
                  <a:pt x="76144" y="2624196"/>
                </a:lnTo>
                <a:lnTo>
                  <a:pt x="76146" y="2624196"/>
                </a:lnTo>
                <a:lnTo>
                  <a:pt x="76146" y="2559109"/>
                </a:lnTo>
                <a:lnTo>
                  <a:pt x="76145" y="2559109"/>
                </a:lnTo>
                <a:lnTo>
                  <a:pt x="76145" y="2513071"/>
                </a:lnTo>
                <a:lnTo>
                  <a:pt x="76146" y="2513071"/>
                </a:lnTo>
                <a:lnTo>
                  <a:pt x="76146" y="2449571"/>
                </a:lnTo>
                <a:lnTo>
                  <a:pt x="76145" y="2449571"/>
                </a:lnTo>
                <a:lnTo>
                  <a:pt x="76145" y="2403533"/>
                </a:lnTo>
                <a:lnTo>
                  <a:pt x="76146" y="2403533"/>
                </a:lnTo>
                <a:lnTo>
                  <a:pt x="76146" y="2340033"/>
                </a:lnTo>
                <a:lnTo>
                  <a:pt x="76145" y="2340033"/>
                </a:lnTo>
                <a:lnTo>
                  <a:pt x="76145" y="2290820"/>
                </a:lnTo>
                <a:lnTo>
                  <a:pt x="76146" y="2290820"/>
                </a:lnTo>
                <a:lnTo>
                  <a:pt x="76146" y="2230495"/>
                </a:lnTo>
                <a:lnTo>
                  <a:pt x="76145" y="2230495"/>
                </a:lnTo>
                <a:lnTo>
                  <a:pt x="76145" y="2181282"/>
                </a:lnTo>
                <a:lnTo>
                  <a:pt x="76146" y="2181282"/>
                </a:lnTo>
                <a:lnTo>
                  <a:pt x="76146" y="2117782"/>
                </a:lnTo>
                <a:lnTo>
                  <a:pt x="76145" y="2117782"/>
                </a:lnTo>
                <a:lnTo>
                  <a:pt x="76145" y="2071744"/>
                </a:lnTo>
                <a:lnTo>
                  <a:pt x="76146" y="2071744"/>
                </a:lnTo>
                <a:lnTo>
                  <a:pt x="76146" y="2008244"/>
                </a:lnTo>
                <a:lnTo>
                  <a:pt x="76145" y="2008244"/>
                </a:lnTo>
                <a:lnTo>
                  <a:pt x="76145" y="1962206"/>
                </a:lnTo>
                <a:lnTo>
                  <a:pt x="76146" y="1962206"/>
                </a:lnTo>
                <a:lnTo>
                  <a:pt x="76146" y="1897118"/>
                </a:lnTo>
                <a:lnTo>
                  <a:pt x="76146" y="1852668"/>
                </a:lnTo>
                <a:lnTo>
                  <a:pt x="76146" y="1787580"/>
                </a:lnTo>
                <a:lnTo>
                  <a:pt x="76146" y="1739955"/>
                </a:lnTo>
                <a:lnTo>
                  <a:pt x="76146" y="1681217"/>
                </a:lnTo>
                <a:lnTo>
                  <a:pt x="124756" y="1681217"/>
                </a:lnTo>
                <a:lnTo>
                  <a:pt x="124756" y="1681216"/>
                </a:lnTo>
                <a:lnTo>
                  <a:pt x="124744" y="1681216"/>
                </a:lnTo>
                <a:cubicBezTo>
                  <a:pt x="124744" y="1681216"/>
                  <a:pt x="124744" y="1681216"/>
                  <a:pt x="124744" y="1370065"/>
                </a:cubicBezTo>
                <a:cubicBezTo>
                  <a:pt x="124744" y="1370065"/>
                  <a:pt x="124744" y="1370065"/>
                  <a:pt x="192785" y="1370065"/>
                </a:cubicBezTo>
                <a:lnTo>
                  <a:pt x="192780" y="1370080"/>
                </a:lnTo>
                <a:lnTo>
                  <a:pt x="192790" y="1370080"/>
                </a:lnTo>
                <a:lnTo>
                  <a:pt x="192801" y="1370080"/>
                </a:lnTo>
                <a:lnTo>
                  <a:pt x="192801" y="1363694"/>
                </a:lnTo>
                <a:lnTo>
                  <a:pt x="192789" y="1363716"/>
                </a:lnTo>
                <a:cubicBezTo>
                  <a:pt x="192789" y="1363716"/>
                  <a:pt x="192789" y="1363716"/>
                  <a:pt x="192789" y="1342362"/>
                </a:cubicBezTo>
                <a:cubicBezTo>
                  <a:pt x="192789" y="1342362"/>
                  <a:pt x="192789" y="1342362"/>
                  <a:pt x="192789" y="1339312"/>
                </a:cubicBezTo>
                <a:lnTo>
                  <a:pt x="196212" y="1325964"/>
                </a:lnTo>
                <a:lnTo>
                  <a:pt x="196251" y="1325773"/>
                </a:lnTo>
                <a:lnTo>
                  <a:pt x="203690" y="1289391"/>
                </a:lnTo>
                <a:lnTo>
                  <a:pt x="206597" y="1285198"/>
                </a:lnTo>
                <a:lnTo>
                  <a:pt x="206710" y="1285035"/>
                </a:lnTo>
                <a:lnTo>
                  <a:pt x="208437" y="1278302"/>
                </a:lnTo>
                <a:lnTo>
                  <a:pt x="208990" y="1277578"/>
                </a:lnTo>
                <a:lnTo>
                  <a:pt x="208990" y="1264243"/>
                </a:lnTo>
                <a:cubicBezTo>
                  <a:pt x="208990" y="1261176"/>
                  <a:pt x="208990" y="1261176"/>
                  <a:pt x="208990" y="1261176"/>
                </a:cubicBezTo>
                <a:lnTo>
                  <a:pt x="210402" y="1256543"/>
                </a:lnTo>
                <a:lnTo>
                  <a:pt x="218787" y="1216485"/>
                </a:lnTo>
                <a:lnTo>
                  <a:pt x="225541" y="1206871"/>
                </a:lnTo>
                <a:lnTo>
                  <a:pt x="227683" y="1199841"/>
                </a:lnTo>
                <a:lnTo>
                  <a:pt x="228431" y="1199145"/>
                </a:lnTo>
                <a:lnTo>
                  <a:pt x="228431" y="1199045"/>
                </a:lnTo>
                <a:cubicBezTo>
                  <a:pt x="228431" y="1197888"/>
                  <a:pt x="228431" y="1195573"/>
                  <a:pt x="228431" y="1190942"/>
                </a:cubicBezTo>
                <a:cubicBezTo>
                  <a:pt x="228431" y="1190942"/>
                  <a:pt x="228431" y="1190942"/>
                  <a:pt x="228431" y="1187856"/>
                </a:cubicBezTo>
                <a:lnTo>
                  <a:pt x="228738" y="1186508"/>
                </a:lnTo>
                <a:lnTo>
                  <a:pt x="235143" y="1157623"/>
                </a:lnTo>
                <a:lnTo>
                  <a:pt x="236566" y="1150812"/>
                </a:lnTo>
                <a:lnTo>
                  <a:pt x="236694" y="1150628"/>
                </a:lnTo>
                <a:lnTo>
                  <a:pt x="237335" y="1147740"/>
                </a:lnTo>
                <a:lnTo>
                  <a:pt x="246086" y="1136998"/>
                </a:lnTo>
                <a:lnTo>
                  <a:pt x="258619" y="1118808"/>
                </a:lnTo>
                <a:lnTo>
                  <a:pt x="261655" y="1116779"/>
                </a:lnTo>
                <a:lnTo>
                  <a:pt x="262414" y="1116271"/>
                </a:lnTo>
                <a:lnTo>
                  <a:pt x="264989" y="1106181"/>
                </a:lnTo>
                <a:lnTo>
                  <a:pt x="268975" y="1088165"/>
                </a:lnTo>
                <a:cubicBezTo>
                  <a:pt x="271150" y="1078336"/>
                  <a:pt x="274049" y="1065230"/>
                  <a:pt x="277915" y="1047756"/>
                </a:cubicBezTo>
                <a:cubicBezTo>
                  <a:pt x="277915" y="1047756"/>
                  <a:pt x="277915" y="1047756"/>
                  <a:pt x="287193" y="1011289"/>
                </a:cubicBezTo>
                <a:lnTo>
                  <a:pt x="287402" y="1011289"/>
                </a:lnTo>
                <a:lnTo>
                  <a:pt x="287395" y="1011286"/>
                </a:lnTo>
                <a:lnTo>
                  <a:pt x="287383" y="1011286"/>
                </a:lnTo>
                <a:lnTo>
                  <a:pt x="277244" y="1006929"/>
                </a:lnTo>
                <a:lnTo>
                  <a:pt x="273562" y="1005348"/>
                </a:lnTo>
                <a:lnTo>
                  <a:pt x="273560" y="1005345"/>
                </a:lnTo>
                <a:lnTo>
                  <a:pt x="273531" y="1005333"/>
                </a:lnTo>
                <a:cubicBezTo>
                  <a:pt x="270453" y="1001761"/>
                  <a:pt x="268914" y="996998"/>
                  <a:pt x="268914" y="992236"/>
                </a:cubicBezTo>
                <a:cubicBezTo>
                  <a:pt x="268914" y="982711"/>
                  <a:pt x="275070" y="976361"/>
                  <a:pt x="287383" y="976361"/>
                </a:cubicBezTo>
                <a:cubicBezTo>
                  <a:pt x="287383" y="976361"/>
                  <a:pt x="287383" y="976361"/>
                  <a:pt x="305563" y="976361"/>
                </a:cubicBezTo>
                <a:lnTo>
                  <a:pt x="308926" y="976361"/>
                </a:lnTo>
                <a:lnTo>
                  <a:pt x="330011" y="619598"/>
                </a:lnTo>
                <a:close/>
                <a:moveTo>
                  <a:pt x="4187771" y="223881"/>
                </a:moveTo>
                <a:cubicBezTo>
                  <a:pt x="4194251" y="223881"/>
                  <a:pt x="4200732" y="226931"/>
                  <a:pt x="4200732" y="233031"/>
                </a:cubicBezTo>
                <a:lnTo>
                  <a:pt x="4200732" y="315956"/>
                </a:lnTo>
                <a:lnTo>
                  <a:pt x="4225032" y="315956"/>
                </a:lnTo>
                <a:lnTo>
                  <a:pt x="4225032" y="333419"/>
                </a:lnTo>
                <a:lnTo>
                  <a:pt x="4200732" y="333419"/>
                </a:lnTo>
                <a:lnTo>
                  <a:pt x="4200732" y="408592"/>
                </a:lnTo>
                <a:lnTo>
                  <a:pt x="4200732" y="488994"/>
                </a:lnTo>
                <a:lnTo>
                  <a:pt x="4225032" y="488994"/>
                </a:lnTo>
                <a:lnTo>
                  <a:pt x="4225032" y="511219"/>
                </a:lnTo>
                <a:lnTo>
                  <a:pt x="4200732" y="511219"/>
                </a:lnTo>
                <a:lnTo>
                  <a:pt x="4200732" y="566447"/>
                </a:lnTo>
                <a:lnTo>
                  <a:pt x="4200732" y="663620"/>
                </a:lnTo>
                <a:lnTo>
                  <a:pt x="4225032" y="663620"/>
                </a:lnTo>
                <a:lnTo>
                  <a:pt x="4225032" y="684258"/>
                </a:lnTo>
                <a:lnTo>
                  <a:pt x="4200732" y="684258"/>
                </a:lnTo>
                <a:lnTo>
                  <a:pt x="4200732" y="707539"/>
                </a:lnTo>
                <a:cubicBezTo>
                  <a:pt x="4200732" y="751880"/>
                  <a:pt x="4200732" y="793585"/>
                  <a:pt x="4200732" y="832808"/>
                </a:cubicBezTo>
                <a:lnTo>
                  <a:pt x="4200732" y="836658"/>
                </a:lnTo>
                <a:lnTo>
                  <a:pt x="4225032" y="836658"/>
                </a:lnTo>
                <a:lnTo>
                  <a:pt x="4225032" y="857296"/>
                </a:lnTo>
                <a:lnTo>
                  <a:pt x="4200732" y="857296"/>
                </a:lnTo>
                <a:lnTo>
                  <a:pt x="4200732" y="976847"/>
                </a:lnTo>
                <a:lnTo>
                  <a:pt x="4200732" y="992233"/>
                </a:lnTo>
                <a:lnTo>
                  <a:pt x="4284975" y="992233"/>
                </a:lnTo>
                <a:lnTo>
                  <a:pt x="4284975" y="1041446"/>
                </a:lnTo>
                <a:lnTo>
                  <a:pt x="4239126" y="1041446"/>
                </a:lnTo>
                <a:lnTo>
                  <a:pt x="4369219" y="1230359"/>
                </a:lnTo>
                <a:lnTo>
                  <a:pt x="4424303" y="1230359"/>
                </a:lnTo>
                <a:lnTo>
                  <a:pt x="4424303" y="1257346"/>
                </a:lnTo>
                <a:lnTo>
                  <a:pt x="4424303" y="1257347"/>
                </a:lnTo>
                <a:lnTo>
                  <a:pt x="4424303" y="1349421"/>
                </a:lnTo>
                <a:lnTo>
                  <a:pt x="4492347" y="1349421"/>
                </a:lnTo>
                <a:lnTo>
                  <a:pt x="4492347" y="1376409"/>
                </a:lnTo>
                <a:lnTo>
                  <a:pt x="4492347" y="1431972"/>
                </a:lnTo>
                <a:lnTo>
                  <a:pt x="4492347" y="1446260"/>
                </a:lnTo>
                <a:lnTo>
                  <a:pt x="4492347" y="1516109"/>
                </a:lnTo>
                <a:lnTo>
                  <a:pt x="4492347" y="1531984"/>
                </a:lnTo>
                <a:lnTo>
                  <a:pt x="4492347" y="1601834"/>
                </a:lnTo>
                <a:lnTo>
                  <a:pt x="4492347" y="1617709"/>
                </a:lnTo>
                <a:lnTo>
                  <a:pt x="4492347" y="1687560"/>
                </a:lnTo>
                <a:lnTo>
                  <a:pt x="4492347" y="1703435"/>
                </a:lnTo>
                <a:lnTo>
                  <a:pt x="4492347" y="1773285"/>
                </a:lnTo>
                <a:lnTo>
                  <a:pt x="4492347" y="1787573"/>
                </a:lnTo>
                <a:lnTo>
                  <a:pt x="4492347" y="1857423"/>
                </a:lnTo>
                <a:lnTo>
                  <a:pt x="4492347" y="1873298"/>
                </a:lnTo>
                <a:lnTo>
                  <a:pt x="4492347" y="1943148"/>
                </a:lnTo>
                <a:lnTo>
                  <a:pt x="4492347" y="1959023"/>
                </a:lnTo>
                <a:lnTo>
                  <a:pt x="4492347" y="2028873"/>
                </a:lnTo>
                <a:lnTo>
                  <a:pt x="4492347" y="2044748"/>
                </a:lnTo>
                <a:lnTo>
                  <a:pt x="4492347" y="2114598"/>
                </a:lnTo>
                <a:lnTo>
                  <a:pt x="4492347" y="2128886"/>
                </a:lnTo>
                <a:lnTo>
                  <a:pt x="4492347" y="2200323"/>
                </a:lnTo>
                <a:lnTo>
                  <a:pt x="4492347" y="2214611"/>
                </a:lnTo>
                <a:lnTo>
                  <a:pt x="4492347" y="2284461"/>
                </a:lnTo>
                <a:lnTo>
                  <a:pt x="4492347" y="2300336"/>
                </a:lnTo>
                <a:lnTo>
                  <a:pt x="4492347" y="2370186"/>
                </a:lnTo>
                <a:lnTo>
                  <a:pt x="4492347" y="2386061"/>
                </a:lnTo>
                <a:lnTo>
                  <a:pt x="4492347" y="2455912"/>
                </a:lnTo>
                <a:lnTo>
                  <a:pt x="4492347" y="2471787"/>
                </a:lnTo>
                <a:lnTo>
                  <a:pt x="4492347" y="2541637"/>
                </a:lnTo>
                <a:lnTo>
                  <a:pt x="4492347" y="2555925"/>
                </a:lnTo>
                <a:lnTo>
                  <a:pt x="4492347" y="2625775"/>
                </a:lnTo>
                <a:lnTo>
                  <a:pt x="4492347" y="2641650"/>
                </a:lnTo>
                <a:lnTo>
                  <a:pt x="4492347" y="2711500"/>
                </a:lnTo>
                <a:lnTo>
                  <a:pt x="4492347" y="2727375"/>
                </a:lnTo>
                <a:lnTo>
                  <a:pt x="4492347" y="2797225"/>
                </a:lnTo>
                <a:lnTo>
                  <a:pt x="4492347" y="2813100"/>
                </a:lnTo>
                <a:lnTo>
                  <a:pt x="4492347" y="2882950"/>
                </a:lnTo>
                <a:lnTo>
                  <a:pt x="4492347" y="2897238"/>
                </a:lnTo>
                <a:lnTo>
                  <a:pt x="4492347" y="2968675"/>
                </a:lnTo>
                <a:lnTo>
                  <a:pt x="4492347" y="2982963"/>
                </a:lnTo>
                <a:lnTo>
                  <a:pt x="4492347" y="3052813"/>
                </a:lnTo>
                <a:lnTo>
                  <a:pt x="4492347" y="3068688"/>
                </a:lnTo>
                <a:lnTo>
                  <a:pt x="4492347" y="3138538"/>
                </a:lnTo>
                <a:lnTo>
                  <a:pt x="4492347" y="3154413"/>
                </a:lnTo>
                <a:lnTo>
                  <a:pt x="4492347" y="3224264"/>
                </a:lnTo>
                <a:lnTo>
                  <a:pt x="4492347" y="3240139"/>
                </a:lnTo>
                <a:lnTo>
                  <a:pt x="4492347" y="3309989"/>
                </a:lnTo>
                <a:lnTo>
                  <a:pt x="4492347" y="3324277"/>
                </a:lnTo>
                <a:lnTo>
                  <a:pt x="4492347" y="3395714"/>
                </a:lnTo>
                <a:lnTo>
                  <a:pt x="4492347" y="3410002"/>
                </a:lnTo>
                <a:lnTo>
                  <a:pt x="4492347" y="3479852"/>
                </a:lnTo>
                <a:lnTo>
                  <a:pt x="4492347" y="3495727"/>
                </a:lnTo>
                <a:lnTo>
                  <a:pt x="4492347" y="3565577"/>
                </a:lnTo>
                <a:lnTo>
                  <a:pt x="4492347" y="3581452"/>
                </a:lnTo>
                <a:lnTo>
                  <a:pt x="4492347" y="3629279"/>
                </a:lnTo>
                <a:lnTo>
                  <a:pt x="4492419" y="3629142"/>
                </a:lnTo>
                <a:lnTo>
                  <a:pt x="4492419" y="3624328"/>
                </a:lnTo>
                <a:lnTo>
                  <a:pt x="4573424" y="3476690"/>
                </a:lnTo>
                <a:lnTo>
                  <a:pt x="4573425" y="3476690"/>
                </a:lnTo>
                <a:lnTo>
                  <a:pt x="4643089" y="3476690"/>
                </a:lnTo>
                <a:lnTo>
                  <a:pt x="4643089" y="2465449"/>
                </a:lnTo>
                <a:lnTo>
                  <a:pt x="4704652" y="2465449"/>
                </a:lnTo>
                <a:lnTo>
                  <a:pt x="4704652" y="2465448"/>
                </a:lnTo>
                <a:lnTo>
                  <a:pt x="4704652" y="2028884"/>
                </a:lnTo>
                <a:lnTo>
                  <a:pt x="4704652" y="1741545"/>
                </a:lnTo>
                <a:lnTo>
                  <a:pt x="4735434" y="1671695"/>
                </a:lnTo>
                <a:lnTo>
                  <a:pt x="4766216" y="1741545"/>
                </a:lnTo>
                <a:lnTo>
                  <a:pt x="4913644" y="1555807"/>
                </a:lnTo>
                <a:lnTo>
                  <a:pt x="4913644" y="1555808"/>
                </a:lnTo>
                <a:lnTo>
                  <a:pt x="4913645" y="1555807"/>
                </a:lnTo>
                <a:lnTo>
                  <a:pt x="5059454" y="1741545"/>
                </a:lnTo>
                <a:lnTo>
                  <a:pt x="5062694" y="1741545"/>
                </a:lnTo>
                <a:lnTo>
                  <a:pt x="5093475" y="1671695"/>
                </a:lnTo>
                <a:lnTo>
                  <a:pt x="5124257" y="1741545"/>
                </a:lnTo>
                <a:lnTo>
                  <a:pt x="5124257" y="2028884"/>
                </a:lnTo>
                <a:lnTo>
                  <a:pt x="5124257" y="2465449"/>
                </a:lnTo>
                <a:lnTo>
                  <a:pt x="5187441" y="2465449"/>
                </a:lnTo>
                <a:lnTo>
                  <a:pt x="5187441" y="3476690"/>
                </a:lnTo>
                <a:lnTo>
                  <a:pt x="5255485" y="3476690"/>
                </a:lnTo>
                <a:lnTo>
                  <a:pt x="5282926" y="3528335"/>
                </a:lnTo>
                <a:lnTo>
                  <a:pt x="5282926" y="2773408"/>
                </a:lnTo>
                <a:lnTo>
                  <a:pt x="5282941" y="2773408"/>
                </a:lnTo>
                <a:lnTo>
                  <a:pt x="5282941" y="2700418"/>
                </a:lnTo>
                <a:lnTo>
                  <a:pt x="5417408" y="2700418"/>
                </a:lnTo>
                <a:lnTo>
                  <a:pt x="5417409" y="2700417"/>
                </a:lnTo>
                <a:lnTo>
                  <a:pt x="5417408" y="2700417"/>
                </a:lnTo>
                <a:lnTo>
                  <a:pt x="5282941" y="2700417"/>
                </a:lnTo>
                <a:lnTo>
                  <a:pt x="5621538" y="2440065"/>
                </a:lnTo>
                <a:lnTo>
                  <a:pt x="5958515" y="2700417"/>
                </a:lnTo>
                <a:lnTo>
                  <a:pt x="5824047" y="2700417"/>
                </a:lnTo>
                <a:lnTo>
                  <a:pt x="5824048" y="2700418"/>
                </a:lnTo>
                <a:lnTo>
                  <a:pt x="5958515" y="2700418"/>
                </a:lnTo>
                <a:lnTo>
                  <a:pt x="5958515" y="2773444"/>
                </a:lnTo>
                <a:lnTo>
                  <a:pt x="5958498" y="2773444"/>
                </a:lnTo>
                <a:lnTo>
                  <a:pt x="5958498" y="3722511"/>
                </a:lnTo>
                <a:lnTo>
                  <a:pt x="1621689" y="3722511"/>
                </a:lnTo>
                <a:lnTo>
                  <a:pt x="1621689" y="2544808"/>
                </a:lnTo>
                <a:lnTo>
                  <a:pt x="1639501" y="2544808"/>
                </a:lnTo>
                <a:lnTo>
                  <a:pt x="1680000" y="2544808"/>
                </a:lnTo>
                <a:lnTo>
                  <a:pt x="1680000" y="2233658"/>
                </a:lnTo>
                <a:lnTo>
                  <a:pt x="1767513" y="2233658"/>
                </a:lnTo>
                <a:lnTo>
                  <a:pt x="1767513" y="1968545"/>
                </a:lnTo>
                <a:lnTo>
                  <a:pt x="1793446" y="1968545"/>
                </a:lnTo>
                <a:lnTo>
                  <a:pt x="1793446" y="1833608"/>
                </a:lnTo>
                <a:lnTo>
                  <a:pt x="1848543" y="1833608"/>
                </a:lnTo>
                <a:lnTo>
                  <a:pt x="1848543" y="1736770"/>
                </a:lnTo>
                <a:lnTo>
                  <a:pt x="1905234" y="1736770"/>
                </a:lnTo>
                <a:lnTo>
                  <a:pt x="1905234" y="1693908"/>
                </a:lnTo>
                <a:lnTo>
                  <a:pt x="1979758" y="1693908"/>
                </a:lnTo>
                <a:lnTo>
                  <a:pt x="1988915" y="1479595"/>
                </a:lnTo>
                <a:lnTo>
                  <a:pt x="1988666" y="1479595"/>
                </a:lnTo>
                <a:lnTo>
                  <a:pt x="1987883" y="1479595"/>
                </a:lnTo>
                <a:lnTo>
                  <a:pt x="1987492" y="1479595"/>
                </a:lnTo>
                <a:lnTo>
                  <a:pt x="1980334" y="1479595"/>
                </a:lnTo>
                <a:lnTo>
                  <a:pt x="1979256" y="1479595"/>
                </a:lnTo>
                <a:cubicBezTo>
                  <a:pt x="1974543" y="1479595"/>
                  <a:pt x="1970620" y="1478096"/>
                  <a:pt x="1967873" y="1475847"/>
                </a:cubicBezTo>
                <a:cubicBezTo>
                  <a:pt x="1965107" y="1473598"/>
                  <a:pt x="1963542" y="1470599"/>
                  <a:pt x="1963542" y="1467600"/>
                </a:cubicBezTo>
                <a:cubicBezTo>
                  <a:pt x="1963542" y="1458604"/>
                  <a:pt x="1969832" y="1452607"/>
                  <a:pt x="1979256" y="1452607"/>
                </a:cubicBezTo>
                <a:lnTo>
                  <a:pt x="1980433" y="1452607"/>
                </a:lnTo>
                <a:lnTo>
                  <a:pt x="1988666" y="1452607"/>
                </a:lnTo>
                <a:lnTo>
                  <a:pt x="1988695" y="1452607"/>
                </a:lnTo>
                <a:lnTo>
                  <a:pt x="1989477" y="1452607"/>
                </a:lnTo>
                <a:lnTo>
                  <a:pt x="2003620" y="1132318"/>
                </a:lnTo>
                <a:lnTo>
                  <a:pt x="2003121" y="1142981"/>
                </a:lnTo>
                <a:lnTo>
                  <a:pt x="2003620" y="1132317"/>
                </a:lnTo>
                <a:lnTo>
                  <a:pt x="2003620" y="1132271"/>
                </a:lnTo>
                <a:lnTo>
                  <a:pt x="2003926" y="1125367"/>
                </a:lnTo>
                <a:lnTo>
                  <a:pt x="2007272" y="1049602"/>
                </a:lnTo>
                <a:lnTo>
                  <a:pt x="2007280" y="1049382"/>
                </a:lnTo>
                <a:lnTo>
                  <a:pt x="2007283" y="1049382"/>
                </a:lnTo>
                <a:lnTo>
                  <a:pt x="2007483" y="1049382"/>
                </a:lnTo>
                <a:lnTo>
                  <a:pt x="2008268" y="1049382"/>
                </a:lnTo>
                <a:lnTo>
                  <a:pt x="2012971" y="1049382"/>
                </a:lnTo>
                <a:lnTo>
                  <a:pt x="2013755" y="1049382"/>
                </a:lnTo>
                <a:lnTo>
                  <a:pt x="2020230" y="1049382"/>
                </a:lnTo>
                <a:lnTo>
                  <a:pt x="2037377" y="1452607"/>
                </a:lnTo>
                <a:lnTo>
                  <a:pt x="2039561" y="1452607"/>
                </a:lnTo>
                <a:cubicBezTo>
                  <a:pt x="2048198" y="1452607"/>
                  <a:pt x="2048198" y="1452607"/>
                  <a:pt x="2048198" y="1452607"/>
                </a:cubicBezTo>
                <a:cubicBezTo>
                  <a:pt x="2057619" y="1452607"/>
                  <a:pt x="2063900" y="1458604"/>
                  <a:pt x="2063900" y="1467600"/>
                </a:cubicBezTo>
                <a:cubicBezTo>
                  <a:pt x="2063900" y="1473598"/>
                  <a:pt x="2057619" y="1479595"/>
                  <a:pt x="2048198" y="1479595"/>
                </a:cubicBezTo>
                <a:lnTo>
                  <a:pt x="2038529" y="1479595"/>
                </a:lnTo>
                <a:lnTo>
                  <a:pt x="2047691" y="1693908"/>
                </a:lnTo>
                <a:lnTo>
                  <a:pt x="2122229" y="1693908"/>
                </a:lnTo>
                <a:lnTo>
                  <a:pt x="2122229" y="1736770"/>
                </a:lnTo>
                <a:lnTo>
                  <a:pt x="2178885" y="1736770"/>
                </a:lnTo>
                <a:lnTo>
                  <a:pt x="2178885" y="1833608"/>
                </a:lnTo>
                <a:lnTo>
                  <a:pt x="2234022" y="1833608"/>
                </a:lnTo>
                <a:lnTo>
                  <a:pt x="2234022" y="1968545"/>
                </a:lnTo>
                <a:lnTo>
                  <a:pt x="2259999" y="1968545"/>
                </a:lnTo>
                <a:lnTo>
                  <a:pt x="2259999" y="2233658"/>
                </a:lnTo>
                <a:lnTo>
                  <a:pt x="2345764" y="2233658"/>
                </a:lnTo>
                <a:lnTo>
                  <a:pt x="2345764" y="2544808"/>
                </a:lnTo>
                <a:lnTo>
                  <a:pt x="2405725" y="2544808"/>
                </a:lnTo>
                <a:lnTo>
                  <a:pt x="2405725" y="3703690"/>
                </a:lnTo>
                <a:lnTo>
                  <a:pt x="2408302" y="3703690"/>
                </a:lnTo>
                <a:lnTo>
                  <a:pt x="2408304" y="3703690"/>
                </a:lnTo>
                <a:lnTo>
                  <a:pt x="2411417" y="3703690"/>
                </a:lnTo>
                <a:lnTo>
                  <a:pt x="2433205" y="3703690"/>
                </a:lnTo>
                <a:lnTo>
                  <a:pt x="2433245" y="3703690"/>
                </a:lnTo>
                <a:lnTo>
                  <a:pt x="2433245" y="3644953"/>
                </a:lnTo>
                <a:lnTo>
                  <a:pt x="2412185" y="3644953"/>
                </a:lnTo>
                <a:lnTo>
                  <a:pt x="2412184" y="3644953"/>
                </a:lnTo>
                <a:lnTo>
                  <a:pt x="2412184" y="3592565"/>
                </a:lnTo>
                <a:lnTo>
                  <a:pt x="2412185" y="3592565"/>
                </a:lnTo>
                <a:lnTo>
                  <a:pt x="2433245" y="3592565"/>
                </a:lnTo>
                <a:lnTo>
                  <a:pt x="2433245" y="3532240"/>
                </a:lnTo>
                <a:lnTo>
                  <a:pt x="2433247" y="3532240"/>
                </a:lnTo>
                <a:lnTo>
                  <a:pt x="2496433" y="3532240"/>
                </a:lnTo>
                <a:lnTo>
                  <a:pt x="2496433" y="3532239"/>
                </a:lnTo>
                <a:lnTo>
                  <a:pt x="2496433" y="2916288"/>
                </a:lnTo>
                <a:lnTo>
                  <a:pt x="2496582" y="2916123"/>
                </a:lnTo>
                <a:lnTo>
                  <a:pt x="2551787" y="2854973"/>
                </a:lnTo>
                <a:lnTo>
                  <a:pt x="2551787" y="2800850"/>
                </a:lnTo>
                <a:cubicBezTo>
                  <a:pt x="2551787" y="2719384"/>
                  <a:pt x="2551787" y="2656877"/>
                  <a:pt x="2551787" y="2632571"/>
                </a:cubicBezTo>
                <a:lnTo>
                  <a:pt x="2548840" y="2566607"/>
                </a:lnTo>
                <a:lnTo>
                  <a:pt x="2539796" y="2517413"/>
                </a:lnTo>
                <a:cubicBezTo>
                  <a:pt x="2531642" y="2488023"/>
                  <a:pt x="2519215" y="2463595"/>
                  <a:pt x="2502127" y="2431534"/>
                </a:cubicBezTo>
                <a:cubicBezTo>
                  <a:pt x="2467953" y="2364359"/>
                  <a:pt x="2446207" y="2303290"/>
                  <a:pt x="2446207" y="2303290"/>
                </a:cubicBezTo>
                <a:cubicBezTo>
                  <a:pt x="2446207" y="2303290"/>
                  <a:pt x="2446207" y="2303290"/>
                  <a:pt x="2446207" y="2300236"/>
                </a:cubicBezTo>
                <a:cubicBezTo>
                  <a:pt x="2446207" y="2300236"/>
                  <a:pt x="2446207" y="2297183"/>
                  <a:pt x="2446207" y="2297183"/>
                </a:cubicBezTo>
                <a:lnTo>
                  <a:pt x="2452206" y="2263977"/>
                </a:lnTo>
                <a:lnTo>
                  <a:pt x="2452528" y="2261877"/>
                </a:lnTo>
                <a:lnTo>
                  <a:pt x="2452632" y="2261627"/>
                </a:lnTo>
                <a:lnTo>
                  <a:pt x="2453585" y="2256343"/>
                </a:lnTo>
                <a:lnTo>
                  <a:pt x="2461432" y="2240297"/>
                </a:lnTo>
                <a:lnTo>
                  <a:pt x="2465327" y="2230857"/>
                </a:lnTo>
                <a:lnTo>
                  <a:pt x="2467128" y="2228504"/>
                </a:lnTo>
                <a:lnTo>
                  <a:pt x="2465855" y="2220479"/>
                </a:lnTo>
                <a:cubicBezTo>
                  <a:pt x="2458487" y="2169365"/>
                  <a:pt x="2450095" y="2090439"/>
                  <a:pt x="2449634" y="1994037"/>
                </a:cubicBezTo>
                <a:lnTo>
                  <a:pt x="2451718" y="1909727"/>
                </a:lnTo>
                <a:lnTo>
                  <a:pt x="2436271" y="1903696"/>
                </a:lnTo>
                <a:cubicBezTo>
                  <a:pt x="2432354" y="1899874"/>
                  <a:pt x="2430006" y="1894524"/>
                  <a:pt x="2430006" y="1888409"/>
                </a:cubicBezTo>
                <a:cubicBezTo>
                  <a:pt x="2430006" y="1888409"/>
                  <a:pt x="2430006" y="1888409"/>
                  <a:pt x="2430006" y="1851720"/>
                </a:cubicBezTo>
                <a:lnTo>
                  <a:pt x="2430031" y="1851662"/>
                </a:lnTo>
                <a:lnTo>
                  <a:pt x="2436662" y="1834905"/>
                </a:lnTo>
                <a:lnTo>
                  <a:pt x="2451158" y="1828883"/>
                </a:lnTo>
                <a:lnTo>
                  <a:pt x="2449312" y="1779636"/>
                </a:lnTo>
                <a:lnTo>
                  <a:pt x="2402465" y="1779636"/>
                </a:lnTo>
                <a:lnTo>
                  <a:pt x="2402465" y="1720898"/>
                </a:lnTo>
                <a:lnTo>
                  <a:pt x="2447101" y="1720898"/>
                </a:lnTo>
                <a:lnTo>
                  <a:pt x="2446208" y="1697089"/>
                </a:lnTo>
                <a:lnTo>
                  <a:pt x="2446207" y="1697086"/>
                </a:lnTo>
                <a:lnTo>
                  <a:pt x="2445846" y="1697086"/>
                </a:lnTo>
                <a:lnTo>
                  <a:pt x="2445398" y="1697086"/>
                </a:lnTo>
                <a:cubicBezTo>
                  <a:pt x="2445398" y="1697086"/>
                  <a:pt x="2439931" y="1690948"/>
                  <a:pt x="2437195" y="1680973"/>
                </a:cubicBezTo>
                <a:lnTo>
                  <a:pt x="2436537" y="1669670"/>
                </a:lnTo>
                <a:lnTo>
                  <a:pt x="2436488" y="1669463"/>
                </a:lnTo>
                <a:lnTo>
                  <a:pt x="2436519" y="1669370"/>
                </a:lnTo>
                <a:lnTo>
                  <a:pt x="2436172" y="1663421"/>
                </a:lnTo>
                <a:cubicBezTo>
                  <a:pt x="2437195" y="1656803"/>
                  <a:pt x="2439931" y="1649514"/>
                  <a:pt x="2445398" y="1641841"/>
                </a:cubicBezTo>
                <a:lnTo>
                  <a:pt x="2475142" y="1602512"/>
                </a:lnTo>
                <a:lnTo>
                  <a:pt x="2476276" y="1599055"/>
                </a:lnTo>
                <a:lnTo>
                  <a:pt x="2482893" y="1558973"/>
                </a:lnTo>
                <a:lnTo>
                  <a:pt x="2483674" y="1560103"/>
                </a:lnTo>
                <a:lnTo>
                  <a:pt x="2483291" y="1558973"/>
                </a:lnTo>
                <a:cubicBezTo>
                  <a:pt x="2483291" y="1558973"/>
                  <a:pt x="2520735" y="1605011"/>
                  <a:pt x="2520735" y="1647979"/>
                </a:cubicBezTo>
                <a:cubicBezTo>
                  <a:pt x="2520735" y="1657187"/>
                  <a:pt x="2519177" y="1666394"/>
                  <a:pt x="2515275" y="1674834"/>
                </a:cubicBezTo>
                <a:lnTo>
                  <a:pt x="2512393" y="1678124"/>
                </a:lnTo>
                <a:lnTo>
                  <a:pt x="2511900" y="1679696"/>
                </a:lnTo>
                <a:lnTo>
                  <a:pt x="2500361" y="1691850"/>
                </a:lnTo>
                <a:lnTo>
                  <a:pt x="2495772" y="1697086"/>
                </a:lnTo>
                <a:lnTo>
                  <a:pt x="2496433" y="1697086"/>
                </a:lnTo>
                <a:lnTo>
                  <a:pt x="2495537" y="1720898"/>
                </a:lnTo>
                <a:lnTo>
                  <a:pt x="2538555" y="1720898"/>
                </a:lnTo>
                <a:lnTo>
                  <a:pt x="2538557" y="1720898"/>
                </a:lnTo>
                <a:lnTo>
                  <a:pt x="2538557" y="1779636"/>
                </a:lnTo>
                <a:lnTo>
                  <a:pt x="2538555" y="1779636"/>
                </a:lnTo>
                <a:lnTo>
                  <a:pt x="2493330" y="1779636"/>
                </a:lnTo>
                <a:lnTo>
                  <a:pt x="2491064" y="1839961"/>
                </a:lnTo>
                <a:lnTo>
                  <a:pt x="2492381" y="1839961"/>
                </a:lnTo>
                <a:cubicBezTo>
                  <a:pt x="2498322" y="1839961"/>
                  <a:pt x="2501294" y="1842960"/>
                  <a:pt x="2501294" y="1848957"/>
                </a:cubicBezTo>
                <a:lnTo>
                  <a:pt x="2501294" y="1852661"/>
                </a:lnTo>
                <a:lnTo>
                  <a:pt x="2501833" y="1852661"/>
                </a:lnTo>
                <a:lnTo>
                  <a:pt x="2501833" y="1857548"/>
                </a:lnTo>
                <a:lnTo>
                  <a:pt x="2501959" y="1857424"/>
                </a:lnTo>
                <a:cubicBezTo>
                  <a:pt x="2501959" y="1869625"/>
                  <a:pt x="2501959" y="1894027"/>
                  <a:pt x="2501959" y="1900128"/>
                </a:cubicBezTo>
                <a:lnTo>
                  <a:pt x="2501833" y="1900321"/>
                </a:lnTo>
                <a:lnTo>
                  <a:pt x="2501833" y="1901315"/>
                </a:lnTo>
                <a:cubicBezTo>
                  <a:pt x="2501833" y="1904355"/>
                  <a:pt x="2498729" y="1907396"/>
                  <a:pt x="2495623" y="1910817"/>
                </a:cubicBezTo>
                <a:lnTo>
                  <a:pt x="2489608" y="1922226"/>
                </a:lnTo>
                <a:lnTo>
                  <a:pt x="2490054" y="1930703"/>
                </a:lnTo>
                <a:lnTo>
                  <a:pt x="2494440" y="1986107"/>
                </a:lnTo>
                <a:lnTo>
                  <a:pt x="2500141" y="2023322"/>
                </a:lnTo>
                <a:lnTo>
                  <a:pt x="2508793" y="2060558"/>
                </a:lnTo>
                <a:lnTo>
                  <a:pt x="2518318" y="2098634"/>
                </a:lnTo>
                <a:cubicBezTo>
                  <a:pt x="2525578" y="2123179"/>
                  <a:pt x="2534481" y="2149487"/>
                  <a:pt x="2545321" y="2177702"/>
                </a:cubicBezTo>
                <a:lnTo>
                  <a:pt x="2545659" y="2178866"/>
                </a:lnTo>
                <a:lnTo>
                  <a:pt x="2545838" y="2178843"/>
                </a:lnTo>
                <a:lnTo>
                  <a:pt x="2545621" y="2178099"/>
                </a:lnTo>
                <a:lnTo>
                  <a:pt x="2551787" y="2178099"/>
                </a:lnTo>
                <a:lnTo>
                  <a:pt x="2551835" y="2178099"/>
                </a:lnTo>
                <a:cubicBezTo>
                  <a:pt x="2551835" y="2178099"/>
                  <a:pt x="2554940" y="2178099"/>
                  <a:pt x="2554940" y="2178099"/>
                </a:cubicBezTo>
                <a:lnTo>
                  <a:pt x="2559630" y="2191926"/>
                </a:lnTo>
                <a:lnTo>
                  <a:pt x="2562207" y="2196470"/>
                </a:lnTo>
                <a:lnTo>
                  <a:pt x="2565540" y="2196182"/>
                </a:lnTo>
                <a:cubicBezTo>
                  <a:pt x="2567690" y="2195996"/>
                  <a:pt x="2570915" y="2195717"/>
                  <a:pt x="2575757" y="2195298"/>
                </a:cubicBezTo>
                <a:lnTo>
                  <a:pt x="2588432" y="2194201"/>
                </a:lnTo>
                <a:lnTo>
                  <a:pt x="2645482" y="2187624"/>
                </a:lnTo>
                <a:lnTo>
                  <a:pt x="2645482" y="2187237"/>
                </a:lnTo>
                <a:lnTo>
                  <a:pt x="2646492" y="2187237"/>
                </a:lnTo>
                <a:lnTo>
                  <a:pt x="2650822" y="2171884"/>
                </a:lnTo>
                <a:lnTo>
                  <a:pt x="2651353" y="2168254"/>
                </a:lnTo>
                <a:lnTo>
                  <a:pt x="2554786" y="2117788"/>
                </a:lnTo>
                <a:lnTo>
                  <a:pt x="2554757" y="2117774"/>
                </a:lnTo>
                <a:lnTo>
                  <a:pt x="2554761" y="2117775"/>
                </a:lnTo>
                <a:lnTo>
                  <a:pt x="2554759" y="2117774"/>
                </a:lnTo>
                <a:lnTo>
                  <a:pt x="2664611" y="2147603"/>
                </a:lnTo>
                <a:lnTo>
                  <a:pt x="2671887" y="2142865"/>
                </a:lnTo>
                <a:lnTo>
                  <a:pt x="2675375" y="2139162"/>
                </a:lnTo>
                <a:lnTo>
                  <a:pt x="2682527" y="2135713"/>
                </a:lnTo>
                <a:lnTo>
                  <a:pt x="2605626" y="2056524"/>
                </a:lnTo>
                <a:lnTo>
                  <a:pt x="2604981" y="2055862"/>
                </a:lnTo>
                <a:lnTo>
                  <a:pt x="2604986" y="2055865"/>
                </a:lnTo>
                <a:lnTo>
                  <a:pt x="2604983" y="2055862"/>
                </a:lnTo>
                <a:lnTo>
                  <a:pt x="2605280" y="2056059"/>
                </a:lnTo>
                <a:lnTo>
                  <a:pt x="2606576" y="2056911"/>
                </a:lnTo>
                <a:cubicBezTo>
                  <a:pt x="2611360" y="2060060"/>
                  <a:pt x="2630498" y="2072653"/>
                  <a:pt x="2707043" y="2123025"/>
                </a:cubicBezTo>
                <a:lnTo>
                  <a:pt x="2706653" y="2123217"/>
                </a:lnTo>
                <a:lnTo>
                  <a:pt x="2707402" y="2123713"/>
                </a:lnTo>
                <a:lnTo>
                  <a:pt x="2707816" y="2123512"/>
                </a:lnTo>
                <a:lnTo>
                  <a:pt x="2710536" y="2123120"/>
                </a:lnTo>
                <a:lnTo>
                  <a:pt x="2735173" y="2117774"/>
                </a:lnTo>
                <a:lnTo>
                  <a:pt x="2734586" y="2117774"/>
                </a:lnTo>
                <a:cubicBezTo>
                  <a:pt x="2734586" y="2117774"/>
                  <a:pt x="2734586" y="2117774"/>
                  <a:pt x="2747547" y="1992361"/>
                </a:cubicBezTo>
                <a:lnTo>
                  <a:pt x="2763057" y="2120014"/>
                </a:lnTo>
                <a:lnTo>
                  <a:pt x="2787277" y="2123512"/>
                </a:lnTo>
                <a:lnTo>
                  <a:pt x="2789568" y="2124617"/>
                </a:lnTo>
                <a:lnTo>
                  <a:pt x="2893362" y="2055862"/>
                </a:lnTo>
                <a:lnTo>
                  <a:pt x="2814777" y="2136777"/>
                </a:lnTo>
                <a:lnTo>
                  <a:pt x="2819722" y="2139162"/>
                </a:lnTo>
                <a:lnTo>
                  <a:pt x="2828908" y="2148911"/>
                </a:lnTo>
                <a:lnTo>
                  <a:pt x="2943581" y="2117774"/>
                </a:lnTo>
                <a:lnTo>
                  <a:pt x="2843735" y="2169955"/>
                </a:lnTo>
                <a:lnTo>
                  <a:pt x="2848583" y="2187131"/>
                </a:lnTo>
                <a:lnTo>
                  <a:pt x="2963021" y="2200324"/>
                </a:lnTo>
                <a:lnTo>
                  <a:pt x="2847368" y="2209657"/>
                </a:lnTo>
                <a:lnTo>
                  <a:pt x="2862495" y="2392463"/>
                </a:lnTo>
                <a:lnTo>
                  <a:pt x="2872400" y="2393569"/>
                </a:lnTo>
                <a:cubicBezTo>
                  <a:pt x="2883024" y="2395183"/>
                  <a:pt x="2892197" y="2397328"/>
                  <a:pt x="2899571" y="2400759"/>
                </a:cubicBezTo>
                <a:cubicBezTo>
                  <a:pt x="2939937" y="2419060"/>
                  <a:pt x="2930620" y="2498364"/>
                  <a:pt x="2936831" y="2544116"/>
                </a:cubicBezTo>
                <a:cubicBezTo>
                  <a:pt x="2936831" y="2550217"/>
                  <a:pt x="3005140" y="2589868"/>
                  <a:pt x="3005140" y="2589868"/>
                </a:cubicBezTo>
                <a:cubicBezTo>
                  <a:pt x="3005140" y="2589868"/>
                  <a:pt x="3005140" y="2589868"/>
                  <a:pt x="2946144" y="2647821"/>
                </a:cubicBezTo>
                <a:cubicBezTo>
                  <a:pt x="2946144" y="2647821"/>
                  <a:pt x="2946144" y="2647821"/>
                  <a:pt x="2946144" y="3137771"/>
                </a:cubicBezTo>
                <a:lnTo>
                  <a:pt x="2946144" y="3144925"/>
                </a:lnTo>
                <a:lnTo>
                  <a:pt x="2997042" y="3184576"/>
                </a:lnTo>
                <a:lnTo>
                  <a:pt x="2997042" y="3532239"/>
                </a:lnTo>
                <a:lnTo>
                  <a:pt x="2946144" y="3532239"/>
                </a:lnTo>
                <a:lnTo>
                  <a:pt x="2946144" y="3532240"/>
                </a:lnTo>
                <a:lnTo>
                  <a:pt x="3055361" y="3532240"/>
                </a:lnTo>
                <a:lnTo>
                  <a:pt x="3055361" y="3592565"/>
                </a:lnTo>
                <a:lnTo>
                  <a:pt x="3065098" y="3592565"/>
                </a:lnTo>
                <a:lnTo>
                  <a:pt x="3065098" y="3587748"/>
                </a:lnTo>
                <a:cubicBezTo>
                  <a:pt x="3065098" y="3570793"/>
                  <a:pt x="3065098" y="3502971"/>
                  <a:pt x="3065098" y="3231684"/>
                </a:cubicBezTo>
                <a:lnTo>
                  <a:pt x="3065098" y="3154414"/>
                </a:lnTo>
                <a:lnTo>
                  <a:pt x="3065066" y="3154414"/>
                </a:lnTo>
                <a:cubicBezTo>
                  <a:pt x="3065066" y="3154414"/>
                  <a:pt x="3065066" y="3154414"/>
                  <a:pt x="3065066" y="3108531"/>
                </a:cubicBezTo>
                <a:lnTo>
                  <a:pt x="3065098" y="3108531"/>
                </a:lnTo>
                <a:lnTo>
                  <a:pt x="3065098" y="3108528"/>
                </a:lnTo>
                <a:lnTo>
                  <a:pt x="3065098" y="3105391"/>
                </a:lnTo>
                <a:cubicBezTo>
                  <a:pt x="3065098" y="3103676"/>
                  <a:pt x="3065098" y="3101104"/>
                  <a:pt x="3065098" y="3097246"/>
                </a:cubicBezTo>
                <a:lnTo>
                  <a:pt x="3065098" y="3081388"/>
                </a:lnTo>
                <a:lnTo>
                  <a:pt x="3065066" y="3081388"/>
                </a:lnTo>
                <a:cubicBezTo>
                  <a:pt x="3065066" y="3081388"/>
                  <a:pt x="3065066" y="3081388"/>
                  <a:pt x="3065066" y="3035574"/>
                </a:cubicBezTo>
                <a:lnTo>
                  <a:pt x="3065098" y="3035574"/>
                </a:lnTo>
                <a:lnTo>
                  <a:pt x="3065098" y="3035572"/>
                </a:lnTo>
                <a:cubicBezTo>
                  <a:pt x="3065098" y="3035572"/>
                  <a:pt x="3065098" y="3035572"/>
                  <a:pt x="3177531" y="3035572"/>
                </a:cubicBezTo>
                <a:lnTo>
                  <a:pt x="3232896" y="3035572"/>
                </a:lnTo>
                <a:lnTo>
                  <a:pt x="3236004" y="3020303"/>
                </a:lnTo>
                <a:lnTo>
                  <a:pt x="3252598" y="2975501"/>
                </a:lnTo>
                <a:lnTo>
                  <a:pt x="3263525" y="2942132"/>
                </a:lnTo>
                <a:lnTo>
                  <a:pt x="3266370" y="2938321"/>
                </a:lnTo>
                <a:lnTo>
                  <a:pt x="3268299" y="2933115"/>
                </a:lnTo>
                <a:lnTo>
                  <a:pt x="3296802" y="2897562"/>
                </a:lnTo>
                <a:lnTo>
                  <a:pt x="3319180" y="2867590"/>
                </a:lnTo>
                <a:lnTo>
                  <a:pt x="3323712" y="2863997"/>
                </a:lnTo>
                <a:lnTo>
                  <a:pt x="3324197" y="2863393"/>
                </a:lnTo>
                <a:lnTo>
                  <a:pt x="3325509" y="2862572"/>
                </a:lnTo>
                <a:lnTo>
                  <a:pt x="3354767" y="2839375"/>
                </a:lnTo>
                <a:cubicBezTo>
                  <a:pt x="3367381" y="2831107"/>
                  <a:pt x="3380712" y="2824020"/>
                  <a:pt x="3394651" y="2818246"/>
                </a:cubicBezTo>
                <a:lnTo>
                  <a:pt x="3398079" y="2817202"/>
                </a:lnTo>
                <a:lnTo>
                  <a:pt x="3398161" y="2817150"/>
                </a:lnTo>
                <a:lnTo>
                  <a:pt x="3401255" y="2816234"/>
                </a:lnTo>
                <a:lnTo>
                  <a:pt x="3438177" y="2804991"/>
                </a:lnTo>
                <a:lnTo>
                  <a:pt x="3439784" y="2804832"/>
                </a:lnTo>
                <a:lnTo>
                  <a:pt x="3440188" y="2804713"/>
                </a:lnTo>
                <a:cubicBezTo>
                  <a:pt x="3454642" y="2801879"/>
                  <a:pt x="3469504" y="2800400"/>
                  <a:pt x="3484655" y="2800400"/>
                </a:cubicBezTo>
                <a:lnTo>
                  <a:pt x="3484655" y="2800401"/>
                </a:lnTo>
                <a:lnTo>
                  <a:pt x="3484691" y="2800398"/>
                </a:lnTo>
                <a:cubicBezTo>
                  <a:pt x="3609018" y="2800398"/>
                  <a:pt x="3714696" y="2901187"/>
                  <a:pt x="3733345" y="3035572"/>
                </a:cubicBezTo>
                <a:cubicBezTo>
                  <a:pt x="3733345" y="3035572"/>
                  <a:pt x="3733345" y="3035572"/>
                  <a:pt x="3847868" y="3035572"/>
                </a:cubicBezTo>
                <a:lnTo>
                  <a:pt x="3883174" y="3035572"/>
                </a:lnTo>
                <a:lnTo>
                  <a:pt x="3883174" y="2983115"/>
                </a:lnTo>
                <a:lnTo>
                  <a:pt x="3883174" y="2968827"/>
                </a:lnTo>
                <a:lnTo>
                  <a:pt x="3883174" y="2897387"/>
                </a:lnTo>
                <a:lnTo>
                  <a:pt x="3883174" y="2883099"/>
                </a:lnTo>
                <a:lnTo>
                  <a:pt x="3883174" y="2813247"/>
                </a:lnTo>
                <a:lnTo>
                  <a:pt x="3883174" y="2797371"/>
                </a:lnTo>
                <a:lnTo>
                  <a:pt x="3883174" y="2727519"/>
                </a:lnTo>
                <a:lnTo>
                  <a:pt x="3883174" y="2711643"/>
                </a:lnTo>
                <a:lnTo>
                  <a:pt x="3883174" y="2641791"/>
                </a:lnTo>
                <a:lnTo>
                  <a:pt x="3883174" y="2625915"/>
                </a:lnTo>
                <a:lnTo>
                  <a:pt x="3883174" y="2556063"/>
                </a:lnTo>
                <a:lnTo>
                  <a:pt x="3883174" y="2541775"/>
                </a:lnTo>
                <a:lnTo>
                  <a:pt x="3883196" y="2541775"/>
                </a:lnTo>
                <a:lnTo>
                  <a:pt x="3883196" y="2541774"/>
                </a:lnTo>
                <a:lnTo>
                  <a:pt x="3883174" y="2541774"/>
                </a:lnTo>
                <a:lnTo>
                  <a:pt x="3883174" y="2471922"/>
                </a:lnTo>
                <a:lnTo>
                  <a:pt x="3883174" y="2456046"/>
                </a:lnTo>
                <a:lnTo>
                  <a:pt x="3883174" y="2386194"/>
                </a:lnTo>
                <a:lnTo>
                  <a:pt x="3883174" y="2370318"/>
                </a:lnTo>
                <a:lnTo>
                  <a:pt x="3883174" y="2300466"/>
                </a:lnTo>
                <a:lnTo>
                  <a:pt x="3883174" y="2284590"/>
                </a:lnTo>
                <a:lnTo>
                  <a:pt x="3883174" y="2214738"/>
                </a:lnTo>
                <a:lnTo>
                  <a:pt x="3883174" y="2200450"/>
                </a:lnTo>
                <a:lnTo>
                  <a:pt x="3883174" y="2129010"/>
                </a:lnTo>
                <a:lnTo>
                  <a:pt x="3883174" y="2114722"/>
                </a:lnTo>
                <a:lnTo>
                  <a:pt x="3883196" y="2114722"/>
                </a:lnTo>
                <a:lnTo>
                  <a:pt x="3883196" y="2114721"/>
                </a:lnTo>
                <a:lnTo>
                  <a:pt x="3883174" y="2114721"/>
                </a:lnTo>
                <a:lnTo>
                  <a:pt x="3883174" y="2044870"/>
                </a:lnTo>
                <a:lnTo>
                  <a:pt x="3883174" y="2044869"/>
                </a:lnTo>
                <a:lnTo>
                  <a:pt x="3883174" y="2028994"/>
                </a:lnTo>
                <a:lnTo>
                  <a:pt x="3883196" y="2028994"/>
                </a:lnTo>
                <a:lnTo>
                  <a:pt x="3883196" y="2028993"/>
                </a:lnTo>
                <a:lnTo>
                  <a:pt x="3883174" y="2028993"/>
                </a:lnTo>
                <a:lnTo>
                  <a:pt x="3883174" y="1959142"/>
                </a:lnTo>
                <a:lnTo>
                  <a:pt x="3883174" y="1959141"/>
                </a:lnTo>
                <a:lnTo>
                  <a:pt x="3883174" y="1943266"/>
                </a:lnTo>
                <a:lnTo>
                  <a:pt x="3883174" y="1873414"/>
                </a:lnTo>
                <a:lnTo>
                  <a:pt x="3883174" y="1873413"/>
                </a:lnTo>
                <a:lnTo>
                  <a:pt x="3883174" y="1857538"/>
                </a:lnTo>
                <a:lnTo>
                  <a:pt x="3883174" y="1787685"/>
                </a:lnTo>
                <a:lnTo>
                  <a:pt x="3883174" y="1773397"/>
                </a:lnTo>
                <a:lnTo>
                  <a:pt x="3883174" y="1703545"/>
                </a:lnTo>
                <a:lnTo>
                  <a:pt x="3883174" y="1687669"/>
                </a:lnTo>
                <a:lnTo>
                  <a:pt x="3883174" y="1617817"/>
                </a:lnTo>
                <a:lnTo>
                  <a:pt x="3883174" y="1601941"/>
                </a:lnTo>
                <a:lnTo>
                  <a:pt x="3883174" y="1532089"/>
                </a:lnTo>
                <a:lnTo>
                  <a:pt x="3883174" y="1532088"/>
                </a:lnTo>
                <a:lnTo>
                  <a:pt x="3883174" y="1516213"/>
                </a:lnTo>
                <a:lnTo>
                  <a:pt x="3883174" y="1446361"/>
                </a:lnTo>
                <a:lnTo>
                  <a:pt x="3883174" y="1446360"/>
                </a:lnTo>
                <a:lnTo>
                  <a:pt x="3883174" y="1432073"/>
                </a:lnTo>
                <a:lnTo>
                  <a:pt x="3883196" y="1432073"/>
                </a:lnTo>
                <a:lnTo>
                  <a:pt x="3883196" y="1432072"/>
                </a:lnTo>
                <a:lnTo>
                  <a:pt x="3883174" y="1432072"/>
                </a:lnTo>
                <a:lnTo>
                  <a:pt x="3883174" y="1376508"/>
                </a:lnTo>
                <a:lnTo>
                  <a:pt x="3883174" y="1349520"/>
                </a:lnTo>
                <a:lnTo>
                  <a:pt x="3883196" y="1349520"/>
                </a:lnTo>
                <a:lnTo>
                  <a:pt x="3883196" y="1349421"/>
                </a:lnTo>
                <a:lnTo>
                  <a:pt x="3951218" y="1349421"/>
                </a:lnTo>
                <a:lnTo>
                  <a:pt x="3951218" y="1257441"/>
                </a:lnTo>
                <a:lnTo>
                  <a:pt x="3951218" y="1230453"/>
                </a:lnTo>
                <a:lnTo>
                  <a:pt x="3951239" y="1230453"/>
                </a:lnTo>
                <a:lnTo>
                  <a:pt x="3951239" y="1230359"/>
                </a:lnTo>
                <a:lnTo>
                  <a:pt x="4007942" y="1230359"/>
                </a:lnTo>
                <a:lnTo>
                  <a:pt x="4010692" y="1226414"/>
                </a:lnTo>
                <a:lnTo>
                  <a:pt x="4137527" y="1041534"/>
                </a:lnTo>
                <a:lnTo>
                  <a:pt x="4139543" y="1041534"/>
                </a:lnTo>
                <a:lnTo>
                  <a:pt x="4139543" y="1041533"/>
                </a:lnTo>
                <a:lnTo>
                  <a:pt x="4137527" y="1041533"/>
                </a:lnTo>
                <a:lnTo>
                  <a:pt x="4095405" y="1041533"/>
                </a:lnTo>
                <a:lnTo>
                  <a:pt x="4095405" y="992319"/>
                </a:lnTo>
                <a:lnTo>
                  <a:pt x="4095426" y="992319"/>
                </a:lnTo>
                <a:lnTo>
                  <a:pt x="4095426" y="992233"/>
                </a:lnTo>
                <a:lnTo>
                  <a:pt x="4178028" y="992233"/>
                </a:lnTo>
                <a:lnTo>
                  <a:pt x="4178028" y="990454"/>
                </a:lnTo>
                <a:cubicBezTo>
                  <a:pt x="4178028" y="984163"/>
                  <a:pt x="4178028" y="959000"/>
                  <a:pt x="4178028" y="858349"/>
                </a:cubicBezTo>
                <a:lnTo>
                  <a:pt x="4178051" y="858349"/>
                </a:lnTo>
                <a:lnTo>
                  <a:pt x="4178051" y="857377"/>
                </a:lnTo>
                <a:lnTo>
                  <a:pt x="4178029" y="857377"/>
                </a:lnTo>
                <a:lnTo>
                  <a:pt x="4153727" y="857377"/>
                </a:lnTo>
                <a:lnTo>
                  <a:pt x="4153727" y="836739"/>
                </a:lnTo>
                <a:lnTo>
                  <a:pt x="4153749" y="836739"/>
                </a:lnTo>
                <a:lnTo>
                  <a:pt x="4153749" y="836658"/>
                </a:lnTo>
                <a:lnTo>
                  <a:pt x="4178028" y="836658"/>
                </a:lnTo>
                <a:lnTo>
                  <a:pt x="4178028" y="834616"/>
                </a:lnTo>
                <a:cubicBezTo>
                  <a:pt x="4178028" y="827467"/>
                  <a:pt x="4178028" y="798873"/>
                  <a:pt x="4178028" y="684497"/>
                </a:cubicBezTo>
                <a:lnTo>
                  <a:pt x="4178051" y="684497"/>
                </a:lnTo>
                <a:lnTo>
                  <a:pt x="4178051" y="684333"/>
                </a:lnTo>
                <a:lnTo>
                  <a:pt x="4178029" y="684333"/>
                </a:lnTo>
                <a:lnTo>
                  <a:pt x="4153727" y="684333"/>
                </a:lnTo>
                <a:lnTo>
                  <a:pt x="4153727" y="663695"/>
                </a:lnTo>
                <a:lnTo>
                  <a:pt x="4153749" y="663695"/>
                </a:lnTo>
                <a:lnTo>
                  <a:pt x="4153749" y="663620"/>
                </a:lnTo>
                <a:lnTo>
                  <a:pt x="4178051" y="663620"/>
                </a:lnTo>
                <a:lnTo>
                  <a:pt x="4178051" y="663147"/>
                </a:lnTo>
                <a:lnTo>
                  <a:pt x="4178028" y="663147"/>
                </a:lnTo>
                <a:cubicBezTo>
                  <a:pt x="4178028" y="663147"/>
                  <a:pt x="4178028" y="663147"/>
                  <a:pt x="4178028" y="560982"/>
                </a:cubicBezTo>
                <a:lnTo>
                  <a:pt x="4178028" y="511290"/>
                </a:lnTo>
                <a:lnTo>
                  <a:pt x="4153727" y="511290"/>
                </a:lnTo>
                <a:lnTo>
                  <a:pt x="4153727" y="489064"/>
                </a:lnTo>
                <a:lnTo>
                  <a:pt x="4153749" y="489064"/>
                </a:lnTo>
                <a:lnTo>
                  <a:pt x="4153749" y="488994"/>
                </a:lnTo>
                <a:lnTo>
                  <a:pt x="4178028" y="488994"/>
                </a:lnTo>
                <a:lnTo>
                  <a:pt x="4178028" y="486864"/>
                </a:lnTo>
                <a:cubicBezTo>
                  <a:pt x="4178028" y="479573"/>
                  <a:pt x="4178028" y="450407"/>
                  <a:pt x="4178028" y="333743"/>
                </a:cubicBezTo>
                <a:lnTo>
                  <a:pt x="4178051" y="333743"/>
                </a:lnTo>
                <a:lnTo>
                  <a:pt x="4178051" y="333483"/>
                </a:lnTo>
                <a:lnTo>
                  <a:pt x="4178029" y="333483"/>
                </a:lnTo>
                <a:lnTo>
                  <a:pt x="4153727" y="333483"/>
                </a:lnTo>
                <a:lnTo>
                  <a:pt x="4153727" y="316020"/>
                </a:lnTo>
                <a:lnTo>
                  <a:pt x="4153749" y="316020"/>
                </a:lnTo>
                <a:lnTo>
                  <a:pt x="4153749" y="315956"/>
                </a:lnTo>
                <a:lnTo>
                  <a:pt x="4178051" y="315956"/>
                </a:lnTo>
                <a:lnTo>
                  <a:pt x="4178051" y="315443"/>
                </a:lnTo>
                <a:lnTo>
                  <a:pt x="4178028" y="315443"/>
                </a:lnTo>
                <a:cubicBezTo>
                  <a:pt x="4178028" y="315443"/>
                  <a:pt x="4178028" y="315443"/>
                  <a:pt x="4178028" y="233092"/>
                </a:cubicBezTo>
                <a:lnTo>
                  <a:pt x="4178051" y="233071"/>
                </a:lnTo>
                <a:lnTo>
                  <a:pt x="4178051" y="233031"/>
                </a:lnTo>
                <a:cubicBezTo>
                  <a:pt x="4178051" y="226931"/>
                  <a:pt x="4181291" y="223881"/>
                  <a:pt x="4187771" y="223881"/>
                </a:cubicBezTo>
                <a:close/>
                <a:moveTo>
                  <a:pt x="8553199" y="0"/>
                </a:moveTo>
                <a:lnTo>
                  <a:pt x="8580741" y="0"/>
                </a:lnTo>
                <a:lnTo>
                  <a:pt x="8580741" y="163512"/>
                </a:lnTo>
                <a:lnTo>
                  <a:pt x="8608282" y="163512"/>
                </a:lnTo>
                <a:lnTo>
                  <a:pt x="8608282" y="163513"/>
                </a:lnTo>
                <a:lnTo>
                  <a:pt x="8608282" y="290512"/>
                </a:lnTo>
                <a:lnTo>
                  <a:pt x="8608282" y="301625"/>
                </a:lnTo>
                <a:lnTo>
                  <a:pt x="8608282" y="427037"/>
                </a:lnTo>
                <a:lnTo>
                  <a:pt x="8634203" y="427037"/>
                </a:lnTo>
                <a:lnTo>
                  <a:pt x="8634203" y="549275"/>
                </a:lnTo>
                <a:lnTo>
                  <a:pt x="8634203" y="755650"/>
                </a:lnTo>
                <a:lnTo>
                  <a:pt x="8637443" y="755650"/>
                </a:lnTo>
                <a:lnTo>
                  <a:pt x="8655264" y="755650"/>
                </a:lnTo>
                <a:lnTo>
                  <a:pt x="8655265" y="755650"/>
                </a:lnTo>
                <a:lnTo>
                  <a:pt x="8655265" y="933450"/>
                </a:lnTo>
                <a:lnTo>
                  <a:pt x="8655265" y="1084262"/>
                </a:lnTo>
                <a:lnTo>
                  <a:pt x="8656884" y="1084262"/>
                </a:lnTo>
                <a:lnTo>
                  <a:pt x="8716827" y="1084262"/>
                </a:lnTo>
                <a:lnTo>
                  <a:pt x="8716827" y="1084263"/>
                </a:lnTo>
                <a:lnTo>
                  <a:pt x="8711967" y="1447800"/>
                </a:lnTo>
                <a:lnTo>
                  <a:pt x="8711967" y="1460500"/>
                </a:lnTo>
                <a:lnTo>
                  <a:pt x="8711967" y="1757362"/>
                </a:lnTo>
                <a:lnTo>
                  <a:pt x="8778390" y="1757362"/>
                </a:lnTo>
                <a:lnTo>
                  <a:pt x="8778390" y="2146891"/>
                </a:lnTo>
                <a:lnTo>
                  <a:pt x="8780899" y="2146891"/>
                </a:lnTo>
                <a:cubicBezTo>
                  <a:pt x="8790384" y="2146891"/>
                  <a:pt x="8828331" y="2146891"/>
                  <a:pt x="8980115" y="2146891"/>
                </a:cubicBezTo>
                <a:cubicBezTo>
                  <a:pt x="8980115" y="2146891"/>
                  <a:pt x="8980115" y="2146891"/>
                  <a:pt x="8980115" y="2586156"/>
                </a:cubicBezTo>
                <a:cubicBezTo>
                  <a:pt x="8980115" y="2586156"/>
                  <a:pt x="8980115" y="2586156"/>
                  <a:pt x="9033913" y="2586156"/>
                </a:cubicBezTo>
                <a:cubicBezTo>
                  <a:pt x="9033913" y="2586156"/>
                  <a:pt x="9033913" y="2586156"/>
                  <a:pt x="9033913" y="2960159"/>
                </a:cubicBezTo>
                <a:cubicBezTo>
                  <a:pt x="9033913" y="2960159"/>
                  <a:pt x="9033913" y="2960159"/>
                  <a:pt x="9005734" y="2960159"/>
                </a:cubicBezTo>
                <a:lnTo>
                  <a:pt x="9005734" y="2960611"/>
                </a:lnTo>
                <a:lnTo>
                  <a:pt x="9034385" y="2960611"/>
                </a:lnTo>
                <a:lnTo>
                  <a:pt x="9034385" y="1425611"/>
                </a:lnTo>
                <a:lnTo>
                  <a:pt x="9034496" y="1425611"/>
                </a:lnTo>
                <a:lnTo>
                  <a:pt x="9034496" y="1402557"/>
                </a:lnTo>
                <a:lnTo>
                  <a:pt x="9034385" y="1401799"/>
                </a:lnTo>
                <a:lnTo>
                  <a:pt x="9034496" y="1400931"/>
                </a:lnTo>
                <a:lnTo>
                  <a:pt x="9034496" y="1377994"/>
                </a:lnTo>
                <a:lnTo>
                  <a:pt x="9037436" y="1377994"/>
                </a:lnTo>
                <a:lnTo>
                  <a:pt x="9046280" y="1309006"/>
                </a:lnTo>
                <a:cubicBezTo>
                  <a:pt x="9069366" y="1222202"/>
                  <a:pt x="9123913" y="1156277"/>
                  <a:pt x="9190908" y="1137403"/>
                </a:cubicBezTo>
                <a:lnTo>
                  <a:pt x="9207733" y="1135068"/>
                </a:lnTo>
                <a:lnTo>
                  <a:pt x="9207733" y="893792"/>
                </a:lnTo>
                <a:lnTo>
                  <a:pt x="9251476" y="893792"/>
                </a:lnTo>
                <a:lnTo>
                  <a:pt x="9251476" y="1134843"/>
                </a:lnTo>
                <a:lnTo>
                  <a:pt x="9269921" y="1137403"/>
                </a:lnTo>
                <a:cubicBezTo>
                  <a:pt x="9336916" y="1156277"/>
                  <a:pt x="9391462" y="1222202"/>
                  <a:pt x="9414549" y="1309006"/>
                </a:cubicBezTo>
                <a:lnTo>
                  <a:pt x="9423392" y="1377994"/>
                </a:lnTo>
                <a:lnTo>
                  <a:pt x="9426562" y="1377994"/>
                </a:lnTo>
                <a:lnTo>
                  <a:pt x="9426562" y="1425620"/>
                </a:lnTo>
                <a:lnTo>
                  <a:pt x="9426444" y="1425620"/>
                </a:lnTo>
                <a:lnTo>
                  <a:pt x="9426444" y="2312557"/>
                </a:lnTo>
                <a:lnTo>
                  <a:pt x="9427505" y="2312557"/>
                </a:lnTo>
                <a:cubicBezTo>
                  <a:pt x="9432428" y="2312557"/>
                  <a:pt x="9452122" y="2312557"/>
                  <a:pt x="9530896" y="2312557"/>
                </a:cubicBezTo>
                <a:cubicBezTo>
                  <a:pt x="9530896" y="2312557"/>
                  <a:pt x="9530896" y="2312557"/>
                  <a:pt x="9530896" y="2960159"/>
                </a:cubicBezTo>
                <a:cubicBezTo>
                  <a:pt x="9530896" y="2960159"/>
                  <a:pt x="9530896" y="2960159"/>
                  <a:pt x="9486586" y="2960159"/>
                </a:cubicBezTo>
                <a:lnTo>
                  <a:pt x="9426444" y="2960159"/>
                </a:lnTo>
                <a:lnTo>
                  <a:pt x="9426444" y="2960611"/>
                </a:lnTo>
                <a:lnTo>
                  <a:pt x="9531754" y="2960611"/>
                </a:lnTo>
                <a:lnTo>
                  <a:pt x="9531754" y="2932037"/>
                </a:lnTo>
                <a:lnTo>
                  <a:pt x="9531754" y="2909812"/>
                </a:lnTo>
                <a:lnTo>
                  <a:pt x="9531754" y="2874887"/>
                </a:lnTo>
                <a:lnTo>
                  <a:pt x="9531754" y="2854250"/>
                </a:lnTo>
                <a:lnTo>
                  <a:pt x="9531754" y="2817738"/>
                </a:lnTo>
                <a:lnTo>
                  <a:pt x="9531754" y="2797101"/>
                </a:lnTo>
                <a:lnTo>
                  <a:pt x="9531754" y="2759002"/>
                </a:lnTo>
                <a:lnTo>
                  <a:pt x="9531754" y="2739952"/>
                </a:lnTo>
                <a:lnTo>
                  <a:pt x="9531754" y="2701853"/>
                </a:lnTo>
                <a:lnTo>
                  <a:pt x="9531754" y="2681216"/>
                </a:lnTo>
                <a:lnTo>
                  <a:pt x="9531754" y="2643117"/>
                </a:lnTo>
                <a:lnTo>
                  <a:pt x="9531754" y="2624067"/>
                </a:lnTo>
                <a:lnTo>
                  <a:pt x="9531754" y="2585967"/>
                </a:lnTo>
                <a:lnTo>
                  <a:pt x="9531754" y="2565330"/>
                </a:lnTo>
                <a:lnTo>
                  <a:pt x="9531754" y="2528818"/>
                </a:lnTo>
                <a:lnTo>
                  <a:pt x="9531754" y="2508181"/>
                </a:lnTo>
                <a:lnTo>
                  <a:pt x="9531754" y="2470082"/>
                </a:lnTo>
                <a:lnTo>
                  <a:pt x="9531754" y="2451032"/>
                </a:lnTo>
                <a:lnTo>
                  <a:pt x="9531754" y="2412933"/>
                </a:lnTo>
                <a:lnTo>
                  <a:pt x="9531754" y="2392296"/>
                </a:lnTo>
                <a:lnTo>
                  <a:pt x="9531754" y="2355784"/>
                </a:lnTo>
                <a:lnTo>
                  <a:pt x="9531754" y="2335147"/>
                </a:lnTo>
                <a:lnTo>
                  <a:pt x="9531754" y="2297047"/>
                </a:lnTo>
                <a:lnTo>
                  <a:pt x="9531754" y="2276410"/>
                </a:lnTo>
                <a:lnTo>
                  <a:pt x="9531754" y="2239898"/>
                </a:lnTo>
                <a:lnTo>
                  <a:pt x="9531754" y="2219261"/>
                </a:lnTo>
                <a:lnTo>
                  <a:pt x="9531754" y="2184337"/>
                </a:lnTo>
                <a:lnTo>
                  <a:pt x="9531754" y="2162112"/>
                </a:lnTo>
                <a:lnTo>
                  <a:pt x="9531754" y="2127188"/>
                </a:lnTo>
                <a:lnTo>
                  <a:pt x="9531754" y="2103376"/>
                </a:lnTo>
                <a:lnTo>
                  <a:pt x="9531754" y="2041464"/>
                </a:lnTo>
                <a:lnTo>
                  <a:pt x="9586837" y="2041464"/>
                </a:lnTo>
                <a:lnTo>
                  <a:pt x="9586837" y="2003544"/>
                </a:lnTo>
                <a:lnTo>
                  <a:pt x="9585197" y="2003544"/>
                </a:lnTo>
                <a:cubicBezTo>
                  <a:pt x="9585197" y="2003544"/>
                  <a:pt x="9585197" y="2003544"/>
                  <a:pt x="9554435" y="1965981"/>
                </a:cubicBezTo>
                <a:cubicBezTo>
                  <a:pt x="9554435" y="1965981"/>
                  <a:pt x="9654409" y="1895864"/>
                  <a:pt x="9659536" y="1838268"/>
                </a:cubicBezTo>
                <a:cubicBezTo>
                  <a:pt x="9676839" y="1838268"/>
                  <a:pt x="9711444" y="1838268"/>
                  <a:pt x="9735237" y="1838268"/>
                </a:cubicBezTo>
                <a:lnTo>
                  <a:pt x="9747225" y="1838268"/>
                </a:lnTo>
                <a:lnTo>
                  <a:pt x="9747225" y="1704920"/>
                </a:lnTo>
                <a:lnTo>
                  <a:pt x="9765046" y="1704920"/>
                </a:lnTo>
                <a:lnTo>
                  <a:pt x="9765046" y="1838268"/>
                </a:lnTo>
                <a:lnTo>
                  <a:pt x="9779736" y="1838268"/>
                </a:lnTo>
                <a:cubicBezTo>
                  <a:pt x="9803888" y="1838268"/>
                  <a:pt x="9837053" y="1838268"/>
                  <a:pt x="9854356" y="1838268"/>
                </a:cubicBezTo>
                <a:cubicBezTo>
                  <a:pt x="9859483" y="1895864"/>
                  <a:pt x="9959456" y="1965981"/>
                  <a:pt x="9959456" y="1965981"/>
                </a:cubicBezTo>
                <a:cubicBezTo>
                  <a:pt x="9959456" y="1965981"/>
                  <a:pt x="9959456" y="1965981"/>
                  <a:pt x="9928695" y="2003544"/>
                </a:cubicBezTo>
                <a:lnTo>
                  <a:pt x="9928674" y="2003544"/>
                </a:lnTo>
                <a:lnTo>
                  <a:pt x="9928674" y="2041464"/>
                </a:lnTo>
                <a:lnTo>
                  <a:pt x="10027499" y="2041464"/>
                </a:lnTo>
                <a:lnTo>
                  <a:pt x="10027499" y="2103376"/>
                </a:lnTo>
                <a:lnTo>
                  <a:pt x="10027499" y="2127188"/>
                </a:lnTo>
                <a:lnTo>
                  <a:pt x="10027499" y="2162112"/>
                </a:lnTo>
                <a:lnTo>
                  <a:pt x="10027499" y="2184337"/>
                </a:lnTo>
                <a:lnTo>
                  <a:pt x="10027499" y="2219261"/>
                </a:lnTo>
                <a:lnTo>
                  <a:pt x="10027499" y="2239898"/>
                </a:lnTo>
                <a:lnTo>
                  <a:pt x="10027499" y="2276410"/>
                </a:lnTo>
                <a:lnTo>
                  <a:pt x="10027499" y="2297047"/>
                </a:lnTo>
                <a:lnTo>
                  <a:pt x="10027499" y="2335147"/>
                </a:lnTo>
                <a:lnTo>
                  <a:pt x="10027499" y="2355784"/>
                </a:lnTo>
                <a:lnTo>
                  <a:pt x="10027499" y="2392296"/>
                </a:lnTo>
                <a:lnTo>
                  <a:pt x="10027499" y="2412933"/>
                </a:lnTo>
                <a:lnTo>
                  <a:pt x="10027499" y="2451032"/>
                </a:lnTo>
                <a:lnTo>
                  <a:pt x="10027499" y="2470082"/>
                </a:lnTo>
                <a:lnTo>
                  <a:pt x="10027499" y="2508181"/>
                </a:lnTo>
                <a:lnTo>
                  <a:pt x="10027499" y="2528818"/>
                </a:lnTo>
                <a:lnTo>
                  <a:pt x="10027499" y="2565330"/>
                </a:lnTo>
                <a:lnTo>
                  <a:pt x="10027499" y="2578029"/>
                </a:lnTo>
                <a:lnTo>
                  <a:pt x="10027499" y="2585967"/>
                </a:lnTo>
                <a:lnTo>
                  <a:pt x="10027499" y="2624067"/>
                </a:lnTo>
                <a:lnTo>
                  <a:pt x="10027499" y="2643117"/>
                </a:lnTo>
                <a:lnTo>
                  <a:pt x="10027499" y="2681216"/>
                </a:lnTo>
                <a:lnTo>
                  <a:pt x="10027499" y="2701853"/>
                </a:lnTo>
                <a:lnTo>
                  <a:pt x="10027499" y="2739952"/>
                </a:lnTo>
                <a:lnTo>
                  <a:pt x="10027499" y="2759002"/>
                </a:lnTo>
                <a:lnTo>
                  <a:pt x="10027499" y="2797101"/>
                </a:lnTo>
                <a:lnTo>
                  <a:pt x="10027499" y="2817738"/>
                </a:lnTo>
                <a:lnTo>
                  <a:pt x="10027499" y="2854250"/>
                </a:lnTo>
                <a:lnTo>
                  <a:pt x="10027499" y="2874887"/>
                </a:lnTo>
                <a:lnTo>
                  <a:pt x="10027499" y="2909812"/>
                </a:lnTo>
                <a:lnTo>
                  <a:pt x="10027499" y="2932037"/>
                </a:lnTo>
                <a:lnTo>
                  <a:pt x="10027499" y="2966961"/>
                </a:lnTo>
                <a:lnTo>
                  <a:pt x="10027499" y="2990773"/>
                </a:lnTo>
                <a:lnTo>
                  <a:pt x="10027499" y="3025698"/>
                </a:lnTo>
                <a:lnTo>
                  <a:pt x="10027499" y="3047923"/>
                </a:lnTo>
                <a:lnTo>
                  <a:pt x="10027499" y="3082847"/>
                </a:lnTo>
                <a:lnTo>
                  <a:pt x="10027499" y="3103484"/>
                </a:lnTo>
                <a:lnTo>
                  <a:pt x="10027499" y="3141583"/>
                </a:lnTo>
                <a:lnTo>
                  <a:pt x="10027499" y="3160633"/>
                </a:lnTo>
                <a:lnTo>
                  <a:pt x="10027499" y="3198732"/>
                </a:lnTo>
                <a:lnTo>
                  <a:pt x="10027499" y="3219369"/>
                </a:lnTo>
                <a:lnTo>
                  <a:pt x="10027499" y="3255881"/>
                </a:lnTo>
                <a:lnTo>
                  <a:pt x="10027499" y="3276518"/>
                </a:lnTo>
                <a:lnTo>
                  <a:pt x="10027499" y="3314618"/>
                </a:lnTo>
                <a:lnTo>
                  <a:pt x="10027499" y="3333668"/>
                </a:lnTo>
                <a:lnTo>
                  <a:pt x="10027499" y="3371767"/>
                </a:lnTo>
                <a:lnTo>
                  <a:pt x="10027499" y="3392404"/>
                </a:lnTo>
                <a:lnTo>
                  <a:pt x="10027499" y="3430503"/>
                </a:lnTo>
                <a:lnTo>
                  <a:pt x="10027499" y="3449553"/>
                </a:lnTo>
                <a:lnTo>
                  <a:pt x="10027499" y="3487652"/>
                </a:lnTo>
                <a:lnTo>
                  <a:pt x="10027499" y="3508289"/>
                </a:lnTo>
                <a:lnTo>
                  <a:pt x="10027499" y="3544801"/>
                </a:lnTo>
                <a:lnTo>
                  <a:pt x="10027499" y="3565438"/>
                </a:lnTo>
                <a:lnTo>
                  <a:pt x="10027499" y="3603538"/>
                </a:lnTo>
                <a:lnTo>
                  <a:pt x="10027499" y="3622588"/>
                </a:lnTo>
                <a:lnTo>
                  <a:pt x="10027499" y="3660687"/>
                </a:lnTo>
                <a:lnTo>
                  <a:pt x="10027499" y="3681324"/>
                </a:lnTo>
                <a:lnTo>
                  <a:pt x="10027499" y="3717836"/>
                </a:lnTo>
                <a:lnTo>
                  <a:pt x="10027499" y="3722511"/>
                </a:lnTo>
                <a:lnTo>
                  <a:pt x="6016174" y="3722511"/>
                </a:lnTo>
                <a:lnTo>
                  <a:pt x="6016174" y="1812966"/>
                </a:lnTo>
                <a:lnTo>
                  <a:pt x="6121479" y="1812966"/>
                </a:lnTo>
                <a:cubicBezTo>
                  <a:pt x="6121479" y="1812966"/>
                  <a:pt x="6563841" y="2161832"/>
                  <a:pt x="6856349" y="2812955"/>
                </a:cubicBezTo>
                <a:lnTo>
                  <a:pt x="6914185" y="2953310"/>
                </a:lnTo>
                <a:lnTo>
                  <a:pt x="6910206" y="2942588"/>
                </a:lnTo>
                <a:cubicBezTo>
                  <a:pt x="6910206" y="2942588"/>
                  <a:pt x="6910206" y="2942588"/>
                  <a:pt x="6974250" y="2942588"/>
                </a:cubicBezTo>
                <a:cubicBezTo>
                  <a:pt x="6974250" y="2942588"/>
                  <a:pt x="6974250" y="2942588"/>
                  <a:pt x="6974250" y="2623807"/>
                </a:cubicBezTo>
                <a:cubicBezTo>
                  <a:pt x="6974250" y="2623807"/>
                  <a:pt x="6974250" y="2623807"/>
                  <a:pt x="6943508" y="2623807"/>
                </a:cubicBezTo>
                <a:cubicBezTo>
                  <a:pt x="6943508" y="2623807"/>
                  <a:pt x="6943508" y="2623807"/>
                  <a:pt x="6943508" y="2533444"/>
                </a:cubicBezTo>
                <a:cubicBezTo>
                  <a:pt x="6943508" y="2533444"/>
                  <a:pt x="6943508" y="2533444"/>
                  <a:pt x="7060210" y="2533444"/>
                </a:cubicBezTo>
                <a:lnTo>
                  <a:pt x="7117697" y="2533444"/>
                </a:lnTo>
                <a:lnTo>
                  <a:pt x="7121840" y="2524813"/>
                </a:lnTo>
                <a:cubicBezTo>
                  <a:pt x="7185506" y="2400174"/>
                  <a:pt x="7246723" y="2318104"/>
                  <a:pt x="7261033" y="2299535"/>
                </a:cubicBezTo>
                <a:lnTo>
                  <a:pt x="7263816" y="2295970"/>
                </a:lnTo>
                <a:lnTo>
                  <a:pt x="7263790" y="2295525"/>
                </a:lnTo>
                <a:lnTo>
                  <a:pt x="7263973" y="2295769"/>
                </a:lnTo>
                <a:lnTo>
                  <a:pt x="7264164" y="2295525"/>
                </a:lnTo>
                <a:lnTo>
                  <a:pt x="7264232" y="2296117"/>
                </a:lnTo>
                <a:lnTo>
                  <a:pt x="7267234" y="2300132"/>
                </a:lnTo>
                <a:cubicBezTo>
                  <a:pt x="7287418" y="2327739"/>
                  <a:pt x="7391912" y="2479106"/>
                  <a:pt x="7463453" y="2745744"/>
                </a:cubicBezTo>
                <a:lnTo>
                  <a:pt x="7477245" y="2802923"/>
                </a:lnTo>
                <a:lnTo>
                  <a:pt x="7473795" y="2784453"/>
                </a:lnTo>
                <a:cubicBezTo>
                  <a:pt x="7481480" y="2799513"/>
                  <a:pt x="7484042" y="2809554"/>
                  <a:pt x="7484042" y="2809554"/>
                </a:cubicBezTo>
                <a:cubicBezTo>
                  <a:pt x="7484042" y="2809554"/>
                  <a:pt x="7514784" y="2716681"/>
                  <a:pt x="7558334" y="2671499"/>
                </a:cubicBezTo>
                <a:cubicBezTo>
                  <a:pt x="7558334" y="2671499"/>
                  <a:pt x="7558334" y="2671499"/>
                  <a:pt x="7558334" y="3283700"/>
                </a:cubicBezTo>
                <a:lnTo>
                  <a:pt x="7558334" y="3413966"/>
                </a:lnTo>
                <a:lnTo>
                  <a:pt x="7558576" y="3414612"/>
                </a:lnTo>
                <a:lnTo>
                  <a:pt x="7558576" y="1941565"/>
                </a:lnTo>
                <a:lnTo>
                  <a:pt x="7642822" y="1941565"/>
                </a:lnTo>
                <a:lnTo>
                  <a:pt x="7642822" y="1544684"/>
                </a:lnTo>
                <a:lnTo>
                  <a:pt x="7644279" y="1544684"/>
                </a:lnTo>
                <a:lnTo>
                  <a:pt x="7642728" y="1544514"/>
                </a:lnTo>
                <a:cubicBezTo>
                  <a:pt x="7642728" y="1544514"/>
                  <a:pt x="7678527" y="1481651"/>
                  <a:pt x="7704100" y="1406216"/>
                </a:cubicBezTo>
                <a:cubicBezTo>
                  <a:pt x="7729672" y="1328266"/>
                  <a:pt x="7719443" y="1217627"/>
                  <a:pt x="7719443" y="1217627"/>
                </a:cubicBezTo>
                <a:cubicBezTo>
                  <a:pt x="7719443" y="1217627"/>
                  <a:pt x="7719443" y="1217627"/>
                  <a:pt x="7757800" y="1217627"/>
                </a:cubicBezTo>
                <a:cubicBezTo>
                  <a:pt x="7757800" y="1217627"/>
                  <a:pt x="7757800" y="1217627"/>
                  <a:pt x="7788486" y="1217627"/>
                </a:cubicBezTo>
                <a:cubicBezTo>
                  <a:pt x="7788486" y="1217627"/>
                  <a:pt x="7788486" y="1217627"/>
                  <a:pt x="7826845" y="1217627"/>
                </a:cubicBezTo>
                <a:cubicBezTo>
                  <a:pt x="7826845" y="1217627"/>
                  <a:pt x="7819173" y="1328266"/>
                  <a:pt x="7844745" y="1406216"/>
                </a:cubicBezTo>
                <a:cubicBezTo>
                  <a:pt x="7870317" y="1481651"/>
                  <a:pt x="7903560" y="1544514"/>
                  <a:pt x="7903560" y="1544514"/>
                </a:cubicBezTo>
                <a:lnTo>
                  <a:pt x="7902009" y="1544684"/>
                </a:lnTo>
                <a:lnTo>
                  <a:pt x="7903560" y="1544684"/>
                </a:lnTo>
                <a:lnTo>
                  <a:pt x="7903560" y="1544654"/>
                </a:lnTo>
                <a:lnTo>
                  <a:pt x="7989425" y="1544654"/>
                </a:lnTo>
                <a:lnTo>
                  <a:pt x="7989425" y="1589104"/>
                </a:lnTo>
                <a:lnTo>
                  <a:pt x="7989425" y="1592279"/>
                </a:lnTo>
                <a:lnTo>
                  <a:pt x="7989425" y="1635142"/>
                </a:lnTo>
                <a:lnTo>
                  <a:pt x="7989425" y="1636729"/>
                </a:lnTo>
                <a:lnTo>
                  <a:pt x="7989425" y="1679592"/>
                </a:lnTo>
                <a:lnTo>
                  <a:pt x="7989425" y="1682767"/>
                </a:lnTo>
                <a:lnTo>
                  <a:pt x="7989425" y="1724042"/>
                </a:lnTo>
                <a:lnTo>
                  <a:pt x="7989425" y="1727217"/>
                </a:lnTo>
                <a:lnTo>
                  <a:pt x="7989425" y="1770080"/>
                </a:lnTo>
                <a:lnTo>
                  <a:pt x="7989425" y="1773255"/>
                </a:lnTo>
                <a:lnTo>
                  <a:pt x="7989425" y="1814530"/>
                </a:lnTo>
                <a:lnTo>
                  <a:pt x="7989425" y="1817705"/>
                </a:lnTo>
                <a:lnTo>
                  <a:pt x="7989425" y="1860568"/>
                </a:lnTo>
                <a:lnTo>
                  <a:pt x="7989425" y="1862155"/>
                </a:lnTo>
                <a:lnTo>
                  <a:pt x="7989425" y="1903431"/>
                </a:lnTo>
                <a:lnTo>
                  <a:pt x="7989425" y="1905018"/>
                </a:lnTo>
                <a:lnTo>
                  <a:pt x="7989425" y="1951056"/>
                </a:lnTo>
                <a:lnTo>
                  <a:pt x="7903660" y="1951056"/>
                </a:lnTo>
                <a:lnTo>
                  <a:pt x="7903660" y="1951090"/>
                </a:lnTo>
                <a:lnTo>
                  <a:pt x="7989526" y="1951090"/>
                </a:lnTo>
                <a:lnTo>
                  <a:pt x="7989526" y="2437482"/>
                </a:lnTo>
                <a:lnTo>
                  <a:pt x="8028419" y="2409823"/>
                </a:lnTo>
                <a:cubicBezTo>
                  <a:pt x="8043148" y="2402292"/>
                  <a:pt x="8059160" y="2396645"/>
                  <a:pt x="8075811" y="2392880"/>
                </a:cubicBezTo>
                <a:cubicBezTo>
                  <a:pt x="8075811" y="2392880"/>
                  <a:pt x="8075811" y="2392880"/>
                  <a:pt x="8075811" y="2199603"/>
                </a:cubicBezTo>
                <a:cubicBezTo>
                  <a:pt x="8075811" y="2199603"/>
                  <a:pt x="8075811" y="2199603"/>
                  <a:pt x="8147541" y="2199603"/>
                </a:cubicBezTo>
                <a:cubicBezTo>
                  <a:pt x="8147541" y="2199603"/>
                  <a:pt x="8147541" y="2199603"/>
                  <a:pt x="8147541" y="2392880"/>
                </a:cubicBezTo>
                <a:cubicBezTo>
                  <a:pt x="8173158" y="2397900"/>
                  <a:pt x="8198776" y="2410450"/>
                  <a:pt x="8221832" y="2425511"/>
                </a:cubicBezTo>
                <a:cubicBezTo>
                  <a:pt x="8221832" y="2425511"/>
                  <a:pt x="8221832" y="2425511"/>
                  <a:pt x="8221832" y="2596196"/>
                </a:cubicBezTo>
                <a:cubicBezTo>
                  <a:pt x="8221832" y="2596196"/>
                  <a:pt x="8221832" y="2596196"/>
                  <a:pt x="8221832" y="2656439"/>
                </a:cubicBezTo>
                <a:cubicBezTo>
                  <a:pt x="8221832" y="2656439"/>
                  <a:pt x="8221832" y="2656439"/>
                  <a:pt x="8221832" y="2701620"/>
                </a:cubicBezTo>
                <a:cubicBezTo>
                  <a:pt x="8198776" y="2719191"/>
                  <a:pt x="8173158" y="2729231"/>
                  <a:pt x="8147541" y="2736761"/>
                </a:cubicBezTo>
                <a:cubicBezTo>
                  <a:pt x="8147541" y="2736761"/>
                  <a:pt x="8147541" y="2736761"/>
                  <a:pt x="8147541" y="2844695"/>
                </a:cubicBezTo>
                <a:cubicBezTo>
                  <a:pt x="8147541" y="2844695"/>
                  <a:pt x="8147541" y="2844695"/>
                  <a:pt x="8221832" y="2844695"/>
                </a:cubicBezTo>
                <a:cubicBezTo>
                  <a:pt x="8221832" y="2844695"/>
                  <a:pt x="8221832" y="2844695"/>
                  <a:pt x="8221832" y="2977730"/>
                </a:cubicBezTo>
                <a:cubicBezTo>
                  <a:pt x="8221832" y="2977730"/>
                  <a:pt x="8221832" y="2977730"/>
                  <a:pt x="8196215" y="2977730"/>
                </a:cubicBezTo>
                <a:cubicBezTo>
                  <a:pt x="8196215" y="2977730"/>
                  <a:pt x="8196215" y="2977730"/>
                  <a:pt x="8162911" y="2977730"/>
                </a:cubicBezTo>
                <a:cubicBezTo>
                  <a:pt x="8162911" y="2977730"/>
                  <a:pt x="8162911" y="2977730"/>
                  <a:pt x="8137294" y="2977730"/>
                </a:cubicBezTo>
                <a:cubicBezTo>
                  <a:pt x="8137294" y="2977730"/>
                  <a:pt x="8137294" y="2977730"/>
                  <a:pt x="8119361" y="2977730"/>
                </a:cubicBezTo>
                <a:lnTo>
                  <a:pt x="8119361" y="2978150"/>
                </a:lnTo>
                <a:lnTo>
                  <a:pt x="8136840" y="2978150"/>
                </a:lnTo>
                <a:lnTo>
                  <a:pt x="8162762" y="2978150"/>
                </a:lnTo>
                <a:lnTo>
                  <a:pt x="8222704" y="2978150"/>
                </a:lnTo>
                <a:lnTo>
                  <a:pt x="8222704" y="2655887"/>
                </a:lnTo>
                <a:lnTo>
                  <a:pt x="8222704" y="2595562"/>
                </a:lnTo>
                <a:lnTo>
                  <a:pt x="8222704" y="2205037"/>
                </a:lnTo>
                <a:lnTo>
                  <a:pt x="8316668" y="2205037"/>
                </a:lnTo>
                <a:lnTo>
                  <a:pt x="8316668" y="1817687"/>
                </a:lnTo>
                <a:lnTo>
                  <a:pt x="8316668" y="1757362"/>
                </a:lnTo>
                <a:lnTo>
                  <a:pt x="8316668" y="1412875"/>
                </a:lnTo>
                <a:lnTo>
                  <a:pt x="8391192" y="1412875"/>
                </a:lnTo>
                <a:lnTo>
                  <a:pt x="8399292" y="1412875"/>
                </a:lnTo>
                <a:lnTo>
                  <a:pt x="8399292" y="1084262"/>
                </a:lnTo>
                <a:lnTo>
                  <a:pt x="8399292" y="933450"/>
                </a:lnTo>
                <a:lnTo>
                  <a:pt x="8423593" y="933450"/>
                </a:lnTo>
                <a:lnTo>
                  <a:pt x="8457615" y="933450"/>
                </a:lnTo>
                <a:lnTo>
                  <a:pt x="8470576" y="933450"/>
                </a:lnTo>
                <a:lnTo>
                  <a:pt x="8470576" y="755650"/>
                </a:lnTo>
                <a:lnTo>
                  <a:pt x="8470576" y="549275"/>
                </a:lnTo>
                <a:lnTo>
                  <a:pt x="8485156" y="549275"/>
                </a:lnTo>
                <a:lnTo>
                  <a:pt x="8514318" y="549275"/>
                </a:lnTo>
                <a:lnTo>
                  <a:pt x="8514318" y="471487"/>
                </a:lnTo>
                <a:lnTo>
                  <a:pt x="8514318" y="427037"/>
                </a:lnTo>
                <a:lnTo>
                  <a:pt x="8514318" y="290512"/>
                </a:lnTo>
                <a:lnTo>
                  <a:pt x="8553199" y="290512"/>
                </a:lnTo>
                <a:lnTo>
                  <a:pt x="8553199" y="163512"/>
                </a:lnTo>
                <a:close/>
              </a:path>
            </a:pathLst>
          </a:custGeom>
          <a:solidFill>
            <a:schemeClr val="accent2">
              <a:lumMod val="20000"/>
              <a:lumOff val="80000"/>
            </a:schemeClr>
          </a:solidFill>
          <a:ln w="9525">
            <a:noFill/>
            <a:miter lim="800000"/>
            <a:headEnd/>
            <a:tailEnd/>
          </a:ln>
        </p:spPr>
        <p:txBody>
          <a:bodyPr wrap="square" anchor="ctr">
            <a:noAutofit/>
          </a:bodyPr>
          <a:lstStyle/>
          <a:p>
            <a:pPr algn="ctr"/>
            <a:endParaRPr/>
          </a:p>
        </p:txBody>
      </p:sp>
      <p:sp>
        <p:nvSpPr>
          <p:cNvPr id="7" name="矩形 6">
            <a:extLst>
              <a:ext uri="{FF2B5EF4-FFF2-40B4-BE49-F238E27FC236}">
                <a16:creationId xmlns:a16="http://schemas.microsoft.com/office/drawing/2014/main" id="{DBCBA6A7-5813-4A9C-9E79-F31CAEDB6044}"/>
              </a:ext>
            </a:extLst>
          </p:cNvPr>
          <p:cNvSpPr/>
          <p:nvPr userDrawn="1"/>
        </p:nvSpPr>
        <p:spPr>
          <a:xfrm>
            <a:off x="0" y="1495029"/>
            <a:ext cx="12191999" cy="24708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标题 12"/>
          <p:cNvSpPr>
            <a:spLocks noGrp="1"/>
          </p:cNvSpPr>
          <p:nvPr userDrawn="1">
            <p:ph type="ctrTitle" hasCustomPrompt="1"/>
          </p:nvPr>
        </p:nvSpPr>
        <p:spPr>
          <a:xfrm>
            <a:off x="3483430" y="1495029"/>
            <a:ext cx="5225140" cy="1640461"/>
          </a:xfrm>
        </p:spPr>
        <p:txBody>
          <a:bodyPr anchor="b">
            <a:normAutofit/>
          </a:bodyPr>
          <a:lstStyle>
            <a:lvl1pPr marL="0" indent="0" algn="ctr">
              <a:buFont typeface="Arial" panose="020B0604020202020204" pitchFamily="34" charset="0"/>
              <a:buNone/>
              <a:defRPr sz="3200">
                <a:solidFill>
                  <a:schemeClr val="bg1"/>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3483430" y="3655011"/>
            <a:ext cx="5225140" cy="310871"/>
          </a:xfrm>
        </p:spPr>
        <p:txBody>
          <a:bodyPr vert="horz" lIns="91440" tIns="45720" rIns="91440" bIns="45720" rtlCol="0">
            <a:normAutofit/>
          </a:bodyPr>
          <a:lstStyle>
            <a:lvl1pPr marL="0" indent="0" algn="ctr">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3483432" y="3358740"/>
            <a:ext cx="5225140" cy="296271"/>
          </a:xfrm>
        </p:spPr>
        <p:txBody>
          <a:bodyPr vert="horz" anchor="ctr">
            <a:noAutofit/>
          </a:bodyPr>
          <a:lstStyle>
            <a:lvl1pPr marL="0" indent="0" algn="ctr">
              <a:buNone/>
              <a:defRPr sz="15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Tree>
    <p:extLst>
      <p:ext uri="{BB962C8B-B14F-4D97-AF65-F5344CB8AC3E}">
        <p14:creationId xmlns:p14="http://schemas.microsoft.com/office/powerpoint/2010/main" val="167451860"/>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a:extLst>
              <a:ext uri="{FF2B5EF4-FFF2-40B4-BE49-F238E27FC236}">
                <a16:creationId xmlns:a16="http://schemas.microsoft.com/office/drawing/2014/main" id="{38E1894C-1FBA-4B65-B999-FF91D6D448E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dirty="0"/>
              <a:t>单击此处编辑母版标题样式</a:t>
            </a:r>
          </a:p>
        </p:txBody>
      </p:sp>
      <p:sp>
        <p:nvSpPr>
          <p:cNvPr id="3" name="文本占位符 2">
            <a:extLst>
              <a:ext uri="{FF2B5EF4-FFF2-40B4-BE49-F238E27FC236}">
                <a16:creationId xmlns:a16="http://schemas.microsoft.com/office/drawing/2014/main" id="{D9DC92F4-7042-4FDA-A9E6-0AD5BC96181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dirty="0"/>
              <a:t>单击此处编辑母版文本样式</a:t>
            </a:r>
          </a:p>
          <a:p>
            <a:pPr lvl="1"/>
            <a:r>
              <a:rPr lang="zh-CN" altLang="en-US" dirty="0"/>
              <a:t>二级</a:t>
            </a:r>
          </a:p>
          <a:p>
            <a:pPr lvl="2"/>
            <a:r>
              <a:rPr lang="zh-CN" altLang="en-US" dirty="0"/>
              <a:t>三级</a:t>
            </a:r>
          </a:p>
          <a:p>
            <a:pPr lvl="3"/>
            <a:r>
              <a:rPr lang="zh-CN" altLang="en-US" dirty="0"/>
              <a:t>四级</a:t>
            </a:r>
          </a:p>
          <a:p>
            <a:pPr lvl="4"/>
            <a:r>
              <a:rPr lang="zh-CN" altLang="en-US" dirty="0"/>
              <a:t>五级</a:t>
            </a:r>
          </a:p>
        </p:txBody>
      </p:sp>
      <p:sp>
        <p:nvSpPr>
          <p:cNvPr id="4" name="日期占位符 3">
            <a:extLst>
              <a:ext uri="{FF2B5EF4-FFF2-40B4-BE49-F238E27FC236}">
                <a16:creationId xmlns:a16="http://schemas.microsoft.com/office/drawing/2014/main" id="{4BF068D2-97F3-486A-9519-6CDF5164061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a楷体" panose="02000500000000000000" pitchFamily="2" charset="-122"/>
                <a:ea typeface="Aa楷体" panose="02000500000000000000" pitchFamily="2" charset="-122"/>
              </a:defRPr>
            </a:lvl1pPr>
          </a:lstStyle>
          <a:p>
            <a:fld id="{BA389231-CF86-40D7-9C53-195B52E419EA}" type="datetimeFigureOut">
              <a:rPr lang="zh-CN" altLang="en-US" smtClean="0"/>
              <a:pPr/>
              <a:t>2024/5/31</a:t>
            </a:fld>
            <a:endParaRPr lang="zh-CN" altLang="en-US" dirty="0"/>
          </a:p>
        </p:txBody>
      </p:sp>
      <p:sp>
        <p:nvSpPr>
          <p:cNvPr id="5" name="页脚占位符 4">
            <a:extLst>
              <a:ext uri="{FF2B5EF4-FFF2-40B4-BE49-F238E27FC236}">
                <a16:creationId xmlns:a16="http://schemas.microsoft.com/office/drawing/2014/main" id="{1F11BBFB-CB83-4CC8-BCE4-563B43C280F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a楷体" panose="02000500000000000000" pitchFamily="2" charset="-122"/>
                <a:ea typeface="Aa楷体" panose="02000500000000000000" pitchFamily="2" charset="-122"/>
              </a:defRPr>
            </a:lvl1pPr>
          </a:lstStyle>
          <a:p>
            <a:endParaRPr lang="zh-CN" altLang="en-US" dirty="0"/>
          </a:p>
        </p:txBody>
      </p:sp>
      <p:sp>
        <p:nvSpPr>
          <p:cNvPr id="6" name="灯片编号占位符 5">
            <a:extLst>
              <a:ext uri="{FF2B5EF4-FFF2-40B4-BE49-F238E27FC236}">
                <a16:creationId xmlns:a16="http://schemas.microsoft.com/office/drawing/2014/main" id="{05859C01-4937-4A1B-AF11-2FFE4C48744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a楷体" panose="02000500000000000000" pitchFamily="2" charset="-122"/>
                <a:ea typeface="Aa楷体" panose="02000500000000000000" pitchFamily="2" charset="-122"/>
              </a:defRPr>
            </a:lvl1pPr>
          </a:lstStyle>
          <a:p>
            <a:fld id="{AD8BD364-0A27-46F0-8315-F0F5B0BF1727}" type="slidenum">
              <a:rPr lang="zh-CN" altLang="en-US" smtClean="0"/>
              <a:pPr/>
              <a:t>‹#›</a:t>
            </a:fld>
            <a:endParaRPr lang="zh-CN" altLang="en-US" dirty="0"/>
          </a:p>
        </p:txBody>
      </p:sp>
    </p:spTree>
    <p:extLst>
      <p:ext uri="{BB962C8B-B14F-4D97-AF65-F5344CB8AC3E}">
        <p14:creationId xmlns:p14="http://schemas.microsoft.com/office/powerpoint/2010/main" val="12031446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7" r:id="rId5"/>
    <p:sldLayoutId id="2147483668" r:id="rId6"/>
    <p:sldLayoutId id="2147483669" r:id="rId7"/>
    <p:sldLayoutId id="2147483671" r:id="rId8"/>
    <p:sldLayoutId id="2147483673" r:id="rId9"/>
    <p:sldLayoutId id="2147483674" r:id="rId10"/>
  </p:sldLayoutIdLst>
  <mc:AlternateContent xmlns:mc="http://schemas.openxmlformats.org/markup-compatibility/2006" xmlns:p14="http://schemas.microsoft.com/office/powerpoint/2010/main">
    <mc:Choice Requires="p14">
      <p:transition spd="slow" p14:dur="1500" advClick="0" advTm="1000">
        <p:random/>
      </p:transition>
    </mc:Choice>
    <mc:Fallback xmlns="">
      <p:transition spd="slow" advClick="0" advTm="1000">
        <p:random/>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Aa楷体" panose="02000500000000000000" pitchFamily="2" charset="-122"/>
          <a:ea typeface="Aa楷体" panose="02000500000000000000" pitchFamily="2" charset="-122"/>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a楷体" panose="02000500000000000000" pitchFamily="2" charset="-122"/>
          <a:ea typeface="Aa楷体" panose="02000500000000000000" pitchFamily="2"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a楷体" panose="02000500000000000000" pitchFamily="2" charset="-122"/>
          <a:ea typeface="Aa楷体" panose="02000500000000000000" pitchFamily="2"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a楷体" panose="02000500000000000000" pitchFamily="2" charset="-122"/>
          <a:ea typeface="Aa楷体" panose="02000500000000000000" pitchFamily="2"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a楷体" panose="02000500000000000000" pitchFamily="2" charset="-122"/>
          <a:ea typeface="Aa楷体" panose="02000500000000000000" pitchFamily="2"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a楷体" panose="02000500000000000000" pitchFamily="2" charset="-122"/>
          <a:ea typeface="Aa楷体" panose="02000500000000000000" pitchFamily="2"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1.bin"/><Relationship Id="rId1" Type="http://schemas.openxmlformats.org/officeDocument/2006/relationships/slideLayout" Target="../slideLayouts/slideLayout10.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8.xml"/><Relationship Id="rId1" Type="http://schemas.openxmlformats.org/officeDocument/2006/relationships/tags" Target="../tags/tag3.xml"/></Relationships>
</file>

<file path=ppt/slides/_rels/slide12.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notesSlide" Target="../notesSlides/notesSlide10.xml"/><Relationship Id="rId7" Type="http://schemas.openxmlformats.org/officeDocument/2006/relationships/image" Target="../media/image34.jpeg"/><Relationship Id="rId2" Type="http://schemas.openxmlformats.org/officeDocument/2006/relationships/slideLayout" Target="../slideLayouts/slideLayout6.xml"/><Relationship Id="rId1" Type="http://schemas.openxmlformats.org/officeDocument/2006/relationships/tags" Target="../tags/tag4.xml"/><Relationship Id="rId6" Type="http://schemas.openxmlformats.org/officeDocument/2006/relationships/image" Target="../media/image33.jpeg"/><Relationship Id="rId5" Type="http://schemas.openxmlformats.org/officeDocument/2006/relationships/image" Target="../media/image32.jpeg"/><Relationship Id="rId4" Type="http://schemas.openxmlformats.org/officeDocument/2006/relationships/image" Target="../media/image31.jpeg"/></Relationships>
</file>

<file path=ppt/slides/_rels/slide1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2.bin"/><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2.xml"/><Relationship Id="rId7" Type="http://schemas.openxmlformats.org/officeDocument/2006/relationships/image" Target="../media/image6.svg"/><Relationship Id="rId2" Type="http://schemas.openxmlformats.org/officeDocument/2006/relationships/slideLayout" Target="../slideLayouts/slideLayout1.xml"/><Relationship Id="rId1" Type="http://schemas.openxmlformats.org/officeDocument/2006/relationships/themeOverride" Target="../theme/themeOverride1.xml"/><Relationship Id="rId6" Type="http://schemas.openxmlformats.org/officeDocument/2006/relationships/image" Target="../media/image5.png"/><Relationship Id="rId11" Type="http://schemas.openxmlformats.org/officeDocument/2006/relationships/image" Target="../media/image10.svg"/><Relationship Id="rId5" Type="http://schemas.openxmlformats.org/officeDocument/2006/relationships/image" Target="../media/image4.svg"/><Relationship Id="rId10" Type="http://schemas.openxmlformats.org/officeDocument/2006/relationships/image" Target="../media/image9.png"/><Relationship Id="rId4" Type="http://schemas.openxmlformats.org/officeDocument/2006/relationships/image" Target="../media/image3.png"/><Relationship Id="rId9" Type="http://schemas.openxmlformats.org/officeDocument/2006/relationships/image" Target="../media/image8.svg"/></Relationships>
</file>

<file path=ppt/slides/_rels/slide4.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3.xml"/><Relationship Id="rId7" Type="http://schemas.openxmlformats.org/officeDocument/2006/relationships/diagramColors" Target="../diagrams/colors1.xml"/><Relationship Id="rId2" Type="http://schemas.openxmlformats.org/officeDocument/2006/relationships/slideLayout" Target="../slideLayouts/slideLayout1.xml"/><Relationship Id="rId1" Type="http://schemas.openxmlformats.org/officeDocument/2006/relationships/themeOverride" Target="../theme/themeOverride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 Id="rId9"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hemeOverride" Target="../theme/themeOverride3.xml"/><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notesSlide" Target="../notesSlides/notesSlide5.xml"/><Relationship Id="rId7" Type="http://schemas.openxmlformats.org/officeDocument/2006/relationships/image" Target="../media/image16.png"/><Relationship Id="rId12" Type="http://schemas.openxmlformats.org/officeDocument/2006/relationships/image" Target="../media/image21.svg"/><Relationship Id="rId2" Type="http://schemas.openxmlformats.org/officeDocument/2006/relationships/slideLayout" Target="../slideLayouts/slideLayout1.xml"/><Relationship Id="rId1" Type="http://schemas.openxmlformats.org/officeDocument/2006/relationships/themeOverride" Target="../theme/themeOverride4.xml"/><Relationship Id="rId6" Type="http://schemas.openxmlformats.org/officeDocument/2006/relationships/image" Target="../media/image15.svg"/><Relationship Id="rId11" Type="http://schemas.openxmlformats.org/officeDocument/2006/relationships/image" Target="../media/image20.png"/><Relationship Id="rId5" Type="http://schemas.openxmlformats.org/officeDocument/2006/relationships/image" Target="../media/image14.png"/><Relationship Id="rId10" Type="http://schemas.openxmlformats.org/officeDocument/2006/relationships/image" Target="../media/image19.svg"/><Relationship Id="rId4" Type="http://schemas.openxmlformats.org/officeDocument/2006/relationships/image" Target="../media/image13.png"/><Relationship Id="rId9"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image" Target="../media/image23.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9.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notesSlide" Target="../notesSlides/notesSlide8.xml"/><Relationship Id="rId7" Type="http://schemas.openxmlformats.org/officeDocument/2006/relationships/image" Target="../media/image27.jpeg"/><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image" Target="../media/image26.jpeg"/><Relationship Id="rId5" Type="http://schemas.openxmlformats.org/officeDocument/2006/relationships/image" Target="../media/image25.jpeg"/><Relationship Id="rId4" Type="http://schemas.openxmlformats.org/officeDocument/2006/relationships/image" Target="../media/image2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 imgW="347" imgH="348" progId="TCLayout.ActiveDocument.1">
                  <p:embed/>
                </p:oleObj>
              </mc:Choice>
              <mc:Fallback>
                <p:oleObj name="think-cell Slide" r:id="rId2"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ctrTitle"/>
          </p:nvPr>
        </p:nvSpPr>
        <p:spPr>
          <a:xfrm>
            <a:off x="-470079" y="1282262"/>
            <a:ext cx="8255358" cy="1078013"/>
          </a:xfrm>
        </p:spPr>
        <p:txBody>
          <a:bodyPr/>
          <a:lstStyle/>
          <a:p>
            <a:pPr algn="ctr"/>
            <a:r>
              <a:rPr lang="en-US" altLang="zh-CN" dirty="0">
                <a:solidFill>
                  <a:schemeClr val="tx1"/>
                </a:solidFill>
                <a:latin typeface="Calibri" panose="020F0502020204030204" pitchFamily="34" charset="0"/>
                <a:ea typeface="Calibri" panose="020F0502020204030204" pitchFamily="34" charset="0"/>
                <a:cs typeface="Calibri" panose="020F0502020204030204" pitchFamily="34" charset="0"/>
              </a:rPr>
              <a:t>The Intelligent Rogue Game </a:t>
            </a:r>
            <a:endParaRPr lang="zh-CN" altLang="en-US" dirty="0">
              <a:solidFill>
                <a:schemeClr val="tx1"/>
              </a:solidFill>
              <a:latin typeface="等线 Light" panose="02010600030101010101" pitchFamily="2" charset="-122"/>
              <a:ea typeface="等线 Light" panose="02010600030101010101" pitchFamily="2" charset="-122"/>
            </a:endParaRPr>
          </a:p>
        </p:txBody>
      </p:sp>
      <p:sp>
        <p:nvSpPr>
          <p:cNvPr id="8" name="副标题 4">
            <a:extLst>
              <a:ext uri="{FF2B5EF4-FFF2-40B4-BE49-F238E27FC236}">
                <a16:creationId xmlns:a16="http://schemas.microsoft.com/office/drawing/2014/main" id="{62D443BF-372D-A94A-224B-DF56D074F908}"/>
              </a:ext>
            </a:extLst>
          </p:cNvPr>
          <p:cNvSpPr txBox="1">
            <a:spLocks/>
          </p:cNvSpPr>
          <p:nvPr/>
        </p:nvSpPr>
        <p:spPr>
          <a:xfrm>
            <a:off x="861986" y="2299156"/>
            <a:ext cx="5673144" cy="817451"/>
          </a:xfrm>
          <a:prstGeom prst="rect">
            <a:avLst/>
          </a:prstGeom>
          <a:solidFill>
            <a:schemeClr val="accent3">
              <a:lumMod val="40000"/>
              <a:lumOff val="60000"/>
            </a:schemeClr>
          </a:solidFill>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2"/>
                </a:solidFill>
                <a:latin typeface="Aa楷体" panose="02000500000000000000" pitchFamily="2" charset="-122"/>
                <a:ea typeface="Aa楷体" panose="02000500000000000000" pitchFamily="2" charset="-122"/>
                <a:cs typeface="+mn-cs"/>
              </a:defRPr>
            </a:lvl1pPr>
            <a:lvl2pPr marL="457178"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a楷体" panose="02000500000000000000" pitchFamily="2" charset="-122"/>
                <a:ea typeface="Aa楷体" panose="02000500000000000000" pitchFamily="2" charset="-122"/>
                <a:cs typeface="+mn-cs"/>
              </a:defRPr>
            </a:lvl2pPr>
            <a:lvl3pPr marL="914354"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a楷体" panose="02000500000000000000" pitchFamily="2" charset="-122"/>
                <a:ea typeface="Aa楷体" panose="02000500000000000000" pitchFamily="2" charset="-122"/>
                <a:cs typeface="+mn-cs"/>
              </a:defRPr>
            </a:lvl3pPr>
            <a:lvl4pPr marL="1371532"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a楷体" panose="02000500000000000000" pitchFamily="2" charset="-122"/>
                <a:ea typeface="Aa楷体" panose="02000500000000000000" pitchFamily="2" charset="-122"/>
                <a:cs typeface="+mn-cs"/>
              </a:defRPr>
            </a:lvl4pPr>
            <a:lvl5pPr marL="1828709"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a楷体" panose="02000500000000000000" pitchFamily="2" charset="-122"/>
                <a:ea typeface="Aa楷体" panose="02000500000000000000" pitchFamily="2" charset="-122"/>
                <a:cs typeface="+mn-cs"/>
              </a:defRPr>
            </a:lvl5pPr>
            <a:lvl6pPr marL="2285886"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062"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24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418"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a:r>
              <a:rPr lang="en-US" sz="2400" i="1" dirty="0">
                <a:solidFill>
                  <a:schemeClr val="tx1"/>
                </a:solidFill>
                <a:latin typeface="Calibri" panose="020F0502020204030204" pitchFamily="34" charset="0"/>
                <a:ea typeface="Calibri" panose="020F0502020204030204" pitchFamily="34" charset="0"/>
                <a:cs typeface="Calibri" panose="020F0502020204030204" pitchFamily="34" charset="0"/>
              </a:rPr>
              <a:t>CPT204 Advanced OO Programming</a:t>
            </a:r>
          </a:p>
        </p:txBody>
      </p:sp>
      <p:sp>
        <p:nvSpPr>
          <p:cNvPr id="11" name="文本占位符 8">
            <a:extLst>
              <a:ext uri="{FF2B5EF4-FFF2-40B4-BE49-F238E27FC236}">
                <a16:creationId xmlns:a16="http://schemas.microsoft.com/office/drawing/2014/main" id="{E2E753E3-3562-687D-7E91-B6C2B475141C}"/>
              </a:ext>
            </a:extLst>
          </p:cNvPr>
          <p:cNvSpPr txBox="1">
            <a:spLocks/>
          </p:cNvSpPr>
          <p:nvPr/>
        </p:nvSpPr>
        <p:spPr>
          <a:xfrm>
            <a:off x="2046843" y="5643259"/>
            <a:ext cx="3072510" cy="1460739"/>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a楷体" panose="02000500000000000000" pitchFamily="2" charset="-122"/>
                <a:ea typeface="Aa楷体" panose="02000500000000000000" pitchFamily="2"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a楷体" panose="02000500000000000000" pitchFamily="2" charset="-122"/>
                <a:ea typeface="Aa楷体" panose="02000500000000000000" pitchFamily="2"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a楷体" panose="02000500000000000000" pitchFamily="2" charset="-122"/>
                <a:ea typeface="Aa楷体" panose="02000500000000000000" pitchFamily="2"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a楷体" panose="02000500000000000000" pitchFamily="2" charset="-122"/>
                <a:ea typeface="Aa楷体" panose="02000500000000000000" pitchFamily="2"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a楷体" panose="02000500000000000000" pitchFamily="2" charset="-122"/>
                <a:ea typeface="Aa楷体" panose="02000500000000000000" pitchFamily="2"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800" b="1" dirty="0">
                <a:latin typeface="Calibri" panose="020F0502020204030204" pitchFamily="34" charset="0"/>
                <a:ea typeface="Calibri" panose="020F0502020204030204" pitchFamily="34" charset="0"/>
                <a:cs typeface="Calibri" panose="020F0502020204030204" pitchFamily="34" charset="0"/>
              </a:rPr>
              <a:t>Group 98</a:t>
            </a:r>
          </a:p>
          <a:p>
            <a:pPr marL="0" indent="0" algn="ctr">
              <a:buNone/>
            </a:pPr>
            <a:r>
              <a:rPr lang="en-US" sz="1800" b="1" dirty="0" err="1">
                <a:latin typeface="Calibri" panose="020F0502020204030204" pitchFamily="34" charset="0"/>
                <a:ea typeface="Calibri" panose="020F0502020204030204" pitchFamily="34" charset="0"/>
                <a:cs typeface="Calibri" panose="020F0502020204030204" pitchFamily="34" charset="0"/>
              </a:rPr>
              <a:t>Zheyuan</a:t>
            </a:r>
            <a:r>
              <a:rPr lang="en-US" sz="1800" b="1" dirty="0">
                <a:latin typeface="Calibri" panose="020F0502020204030204" pitchFamily="34" charset="0"/>
                <a:ea typeface="Calibri" panose="020F0502020204030204" pitchFamily="34" charset="0"/>
                <a:cs typeface="Calibri" panose="020F0502020204030204" pitchFamily="34" charset="0"/>
              </a:rPr>
              <a:t> Cao  2141805</a:t>
            </a:r>
          </a:p>
          <a:p>
            <a:pPr marL="0" indent="0" algn="ctr">
              <a:buNone/>
            </a:pPr>
            <a:r>
              <a:rPr lang="en-US" sz="1800" b="1" dirty="0">
                <a:latin typeface="Calibri" panose="020F0502020204030204" pitchFamily="34" charset="0"/>
                <a:ea typeface="Calibri" panose="020F0502020204030204" pitchFamily="34" charset="0"/>
                <a:cs typeface="Calibri" panose="020F0502020204030204" pitchFamily="34" charset="0"/>
              </a:rPr>
              <a:t> Yanqing Fei    2143430</a:t>
            </a:r>
          </a:p>
        </p:txBody>
      </p:sp>
      <p:pic>
        <p:nvPicPr>
          <p:cNvPr id="16" name="图片 15">
            <a:extLst>
              <a:ext uri="{FF2B5EF4-FFF2-40B4-BE49-F238E27FC236}">
                <a16:creationId xmlns:a16="http://schemas.microsoft.com/office/drawing/2014/main" id="{9436DB54-58BF-AC6E-18F3-74EE259D897C}"/>
              </a:ext>
            </a:extLst>
          </p:cNvPr>
          <p:cNvPicPr>
            <a:picLocks noChangeAspect="1"/>
          </p:cNvPicPr>
          <p:nvPr/>
        </p:nvPicPr>
        <p:blipFill>
          <a:blip r:embed="rId4"/>
          <a:stretch>
            <a:fillRect/>
          </a:stretch>
        </p:blipFill>
        <p:spPr>
          <a:xfrm>
            <a:off x="1636485" y="3209884"/>
            <a:ext cx="3999338" cy="2391610"/>
          </a:xfrm>
          <a:prstGeom prst="rect">
            <a:avLst/>
          </a:prstGeom>
        </p:spPr>
      </p:pic>
    </p:spTree>
    <p:extLst>
      <p:ext uri="{BB962C8B-B14F-4D97-AF65-F5344CB8AC3E}">
        <p14:creationId xmlns:p14="http://schemas.microsoft.com/office/powerpoint/2010/main" val="8754572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îŝ1íḍe">
            <a:extLst>
              <a:ext uri="{FF2B5EF4-FFF2-40B4-BE49-F238E27FC236}">
                <a16:creationId xmlns:a16="http://schemas.microsoft.com/office/drawing/2014/main" id="{D34A556F-3624-4C79-8E1B-741341DE3990}"/>
              </a:ext>
            </a:extLst>
          </p:cNvPr>
          <p:cNvGrpSpPr/>
          <p:nvPr/>
        </p:nvGrpSpPr>
        <p:grpSpPr>
          <a:xfrm>
            <a:off x="754604" y="1257200"/>
            <a:ext cx="10682791" cy="5270768"/>
            <a:chOff x="754604" y="1257200"/>
            <a:chExt cx="10682791" cy="4774450"/>
          </a:xfrm>
        </p:grpSpPr>
        <p:sp>
          <p:nvSpPr>
            <p:cNvPr id="4" name="íšḷîḓè">
              <a:extLst>
                <a:ext uri="{FF2B5EF4-FFF2-40B4-BE49-F238E27FC236}">
                  <a16:creationId xmlns:a16="http://schemas.microsoft.com/office/drawing/2014/main" id="{D96BD5AC-BA99-BC41-319F-35026F97EE2C}"/>
                </a:ext>
              </a:extLst>
            </p:cNvPr>
            <p:cNvSpPr/>
            <p:nvPr/>
          </p:nvSpPr>
          <p:spPr>
            <a:xfrm flipH="1" flipV="1">
              <a:off x="754604" y="2488764"/>
              <a:ext cx="10682791" cy="3542886"/>
            </a:xfrm>
            <a:prstGeom prst="roundRect">
              <a:avLst>
                <a:gd name="adj" fmla="val 14614"/>
              </a:avLst>
            </a:prstGeom>
            <a:ln w="76200" cap="rnd">
              <a:gradFill>
                <a:gsLst>
                  <a:gs pos="100000">
                    <a:schemeClr val="accent3">
                      <a:lumMod val="60000"/>
                      <a:lumOff val="40000"/>
                      <a:alpha val="0"/>
                    </a:schemeClr>
                  </a:gs>
                  <a:gs pos="20000">
                    <a:schemeClr val="accent3"/>
                  </a:gs>
                </a:gsLst>
                <a:lin ang="6600000" scaled="0"/>
              </a:gra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dirty="0">
                <a:solidFill>
                  <a:schemeClr val="tx1"/>
                </a:solidFill>
              </a:endParaRPr>
            </a:p>
          </p:txBody>
        </p:sp>
        <p:sp>
          <p:nvSpPr>
            <p:cNvPr id="5" name="ïšļïďe">
              <a:extLst>
                <a:ext uri="{FF2B5EF4-FFF2-40B4-BE49-F238E27FC236}">
                  <a16:creationId xmlns:a16="http://schemas.microsoft.com/office/drawing/2014/main" id="{AF5689F4-6290-5649-1A4B-38335E94E764}"/>
                </a:ext>
              </a:extLst>
            </p:cNvPr>
            <p:cNvSpPr/>
            <p:nvPr/>
          </p:nvSpPr>
          <p:spPr>
            <a:xfrm flipH="1">
              <a:off x="754604" y="1257200"/>
              <a:ext cx="124544" cy="830997"/>
            </a:xfrm>
            <a:prstGeom prst="roundRect">
              <a:avLst>
                <a:gd name="adj" fmla="val 44900"/>
              </a:avLst>
            </a:prstGeom>
            <a:gradFill>
              <a:gsLst>
                <a:gs pos="0">
                  <a:schemeClr val="accent1">
                    <a:lumMod val="60000"/>
                    <a:lumOff val="40000"/>
                  </a:schemeClr>
                </a:gs>
                <a:gs pos="60000">
                  <a:schemeClr val="accent1"/>
                </a:gs>
              </a:gsLst>
              <a:lin ang="2700000" scaled="0"/>
            </a:gradFill>
            <a:ln w="57150" cap="rnd">
              <a:noFill/>
              <a:prstDash val="solid"/>
              <a:round/>
            </a:ln>
            <a:effectLst>
              <a:outerShdw blurRad="50800" dist="508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1400" b="1" dirty="0">
                <a:solidFill>
                  <a:schemeClr val="bg1"/>
                </a:solidFill>
              </a:endParaRPr>
            </a:p>
          </p:txBody>
        </p:sp>
      </p:grpSp>
      <p:sp>
        <p:nvSpPr>
          <p:cNvPr id="6" name="矩形: 圆角 5">
            <a:extLst>
              <a:ext uri="{FF2B5EF4-FFF2-40B4-BE49-F238E27FC236}">
                <a16:creationId xmlns:a16="http://schemas.microsoft.com/office/drawing/2014/main" id="{99A6D8A7-01A4-E67F-D349-140F67B984FD}"/>
              </a:ext>
            </a:extLst>
          </p:cNvPr>
          <p:cNvSpPr/>
          <p:nvPr/>
        </p:nvSpPr>
        <p:spPr>
          <a:xfrm>
            <a:off x="6995247" y="193106"/>
            <a:ext cx="4299624" cy="6201638"/>
          </a:xfrm>
          <a:prstGeom prst="roundRect">
            <a:avLst>
              <a:gd name="adj" fmla="val 7957"/>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文本框 6">
            <a:extLst>
              <a:ext uri="{FF2B5EF4-FFF2-40B4-BE49-F238E27FC236}">
                <a16:creationId xmlns:a16="http://schemas.microsoft.com/office/drawing/2014/main" id="{F4F5DB13-BEBB-0EE9-29B8-F5DBF6B7F131}"/>
              </a:ext>
            </a:extLst>
          </p:cNvPr>
          <p:cNvSpPr txBox="1"/>
          <p:nvPr/>
        </p:nvSpPr>
        <p:spPr>
          <a:xfrm>
            <a:off x="1048307" y="1226948"/>
            <a:ext cx="3713382" cy="955390"/>
          </a:xfrm>
          <a:prstGeom prst="rect">
            <a:avLst/>
          </a:prstGeom>
          <a:noFill/>
          <a:ln w="0">
            <a:noFill/>
          </a:ln>
        </p:spPr>
        <p:txBody>
          <a:bodyPr vert="horz" wrap="square" lIns="89535" tIns="46355" rIns="89535" bIns="46355" numCol="1" anchor="t">
            <a:spAutoFit/>
          </a:bodyPr>
          <a:lstStyle/>
          <a:p>
            <a:pPr marL="0" marR="0" lvl="0" indent="0" algn="ctr" defTabSz="508000" rtl="0" eaLnBrk="0" fontAlgn="auto" latinLnBrk="0" hangingPunct="1">
              <a:lnSpc>
                <a:spcPct val="100000"/>
              </a:lnSpc>
              <a:spcBef>
                <a:spcPts val="0"/>
              </a:spcBef>
              <a:spcAft>
                <a:spcPts val="0"/>
              </a:spcAft>
              <a:buClrTx/>
              <a:buSzTx/>
              <a:buFontTx/>
              <a:buNone/>
              <a:tabLst/>
              <a:defRPr/>
            </a:pPr>
            <a:r>
              <a:rPr lang="en-US" altLang="zh-CN" sz="2400" b="1" dirty="0">
                <a:solidFill>
                  <a:srgbClr val="000000"/>
                </a:solidFill>
                <a:latin typeface="Calibri" panose="020F0502020204030204" pitchFamily="34" charset="0"/>
                <a:ea typeface="Aa楷体" panose="02000500000000000000" pitchFamily="2" charset="-122"/>
                <a:cs typeface="Calibri" panose="020F0502020204030204" pitchFamily="34" charset="0"/>
                <a:sym typeface="YRDZST"/>
              </a:rPr>
              <a:t>Rogue</a:t>
            </a:r>
            <a:r>
              <a:rPr kumimoji="0" lang="en-US" altLang="zh-CN" sz="2400" b="1" i="0" u="none" strike="noStrike" kern="1200" cap="none" spc="0" normalizeH="0" baseline="0" noProof="0" dirty="0">
                <a:ln>
                  <a:noFill/>
                </a:ln>
                <a:solidFill>
                  <a:srgbClr val="000000"/>
                </a:solidFill>
                <a:effectLst/>
                <a:uLnTx/>
                <a:uFillTx/>
                <a:latin typeface="Calibri" panose="020F0502020204030204" pitchFamily="34" charset="0"/>
                <a:ea typeface="Aa楷体" panose="02000500000000000000" pitchFamily="2" charset="-122"/>
                <a:cs typeface="Calibri" panose="020F0502020204030204" pitchFamily="34" charset="0"/>
                <a:sym typeface="YRDZST"/>
              </a:rPr>
              <a:t> Algorithm Analysis</a:t>
            </a:r>
          </a:p>
          <a:p>
            <a:pPr marL="285750" marR="0" lvl="0" indent="-285750" algn="ctr" defTabSz="508000" rtl="0" eaLnBrk="0" fontAlgn="auto" latinLnBrk="0" hangingPunct="1">
              <a:lnSpc>
                <a:spcPct val="100000"/>
              </a:lnSpc>
              <a:spcBef>
                <a:spcPts val="0"/>
              </a:spcBef>
              <a:spcAft>
                <a:spcPts val="0"/>
              </a:spcAft>
              <a:buClrTx/>
              <a:buSzTx/>
              <a:buFont typeface="Arial" panose="020B0604020202020204" pitchFamily="34" charset="0"/>
              <a:buChar char="•"/>
              <a:tabLst/>
              <a:defRPr/>
            </a:pPr>
            <a:r>
              <a:rPr lang="en-US" altLang="zh-CN" sz="1600" dirty="0">
                <a:solidFill>
                  <a:srgbClr val="000000"/>
                </a:solidFill>
                <a:latin typeface="Calibri" panose="020F0502020204030204" pitchFamily="34" charset="0"/>
                <a:ea typeface="Aa楷体" panose="02000500000000000000" pitchFamily="2" charset="-122"/>
                <a:cs typeface="Calibri" panose="020F0502020204030204" pitchFamily="34" charset="0"/>
                <a:sym typeface="YRDZST"/>
              </a:rPr>
              <a:t>D</a:t>
            </a:r>
            <a:r>
              <a:rPr lang="en-US" altLang="ko-KR" sz="1600" dirty="0">
                <a:solidFill>
                  <a:srgbClr val="000000"/>
                </a:solidFill>
                <a:latin typeface="Calibri" panose="020F0502020204030204" pitchFamily="34" charset="0"/>
                <a:ea typeface="Aa楷体" panose="02000500000000000000" pitchFamily="2" charset="-122"/>
                <a:cs typeface="Calibri" panose="020F0502020204030204" pitchFamily="34" charset="0"/>
                <a:sym typeface="YRDZST"/>
              </a:rPr>
              <a:t>FS and Rogue Implementation</a:t>
            </a:r>
          </a:p>
          <a:p>
            <a:pPr marL="285750" marR="0" lvl="0" indent="-285750" algn="ctr" defTabSz="508000" rtl="0" eaLnBrk="0" fontAlgn="auto" latinLnBrk="0" hangingPunct="1">
              <a:lnSpc>
                <a:spcPct val="100000"/>
              </a:lnSpc>
              <a:spcBef>
                <a:spcPts val="0"/>
              </a:spcBef>
              <a:spcAft>
                <a:spcPts val="0"/>
              </a:spcAft>
              <a:buClrTx/>
              <a:buSzTx/>
              <a:buFont typeface="Arial" panose="020B0604020202020204" pitchFamily="34" charset="0"/>
              <a:buChar char="•"/>
              <a:tabLst/>
              <a:defRPr/>
            </a:pPr>
            <a:r>
              <a:rPr lang="en-US" altLang="ko-KR" sz="1600" dirty="0">
                <a:solidFill>
                  <a:srgbClr val="000000"/>
                </a:solidFill>
                <a:latin typeface="Calibri" panose="020F0502020204030204" pitchFamily="34" charset="0"/>
                <a:ea typeface="Aa楷体" panose="02000500000000000000" pitchFamily="2" charset="-122"/>
                <a:cs typeface="Calibri" panose="020F0502020204030204" pitchFamily="34" charset="0"/>
                <a:sym typeface="YRDZST"/>
              </a:rPr>
              <a:t>Time and Space Efficiency</a:t>
            </a:r>
            <a:endParaRPr kumimoji="0" lang="ko-KR" altLang="en-US" sz="1600" i="0" u="none" strike="noStrike" kern="1200" cap="none" spc="0" normalizeH="0" baseline="0" noProof="0" dirty="0">
              <a:ln>
                <a:noFill/>
              </a:ln>
              <a:solidFill>
                <a:srgbClr val="F0F0F0">
                  <a:lumMod val="25000"/>
                </a:srgbClr>
              </a:solidFill>
              <a:effectLst/>
              <a:uLnTx/>
              <a:uFillTx/>
              <a:latin typeface="Calibri" panose="020F0502020204030204" pitchFamily="34" charset="0"/>
              <a:ea typeface="微软雅黑" panose="020B0503020204020204" charset="-122"/>
              <a:cs typeface="Calibri" panose="020F0502020204030204" pitchFamily="34" charset="0"/>
              <a:sym typeface="YRDZST"/>
            </a:endParaRPr>
          </a:p>
        </p:txBody>
      </p:sp>
      <p:graphicFrame>
        <p:nvGraphicFramePr>
          <p:cNvPr id="10" name="表格 9">
            <a:extLst>
              <a:ext uri="{FF2B5EF4-FFF2-40B4-BE49-F238E27FC236}">
                <a16:creationId xmlns:a16="http://schemas.microsoft.com/office/drawing/2014/main" id="{7E04C558-F73A-7829-03A6-6CB34B94D0F5}"/>
              </a:ext>
            </a:extLst>
          </p:cNvPr>
          <p:cNvGraphicFramePr>
            <a:graphicFrameLocks noGrp="1"/>
          </p:cNvGraphicFramePr>
          <p:nvPr>
            <p:extLst>
              <p:ext uri="{D42A27DB-BD31-4B8C-83A1-F6EECF244321}">
                <p14:modId xmlns:p14="http://schemas.microsoft.com/office/powerpoint/2010/main" val="371142459"/>
              </p:ext>
            </p:extLst>
          </p:nvPr>
        </p:nvGraphicFramePr>
        <p:xfrm>
          <a:off x="1378434" y="3156911"/>
          <a:ext cx="5079801" cy="2710008"/>
        </p:xfrm>
        <a:graphic>
          <a:graphicData uri="http://schemas.openxmlformats.org/drawingml/2006/table">
            <a:tbl>
              <a:tblPr firstRow="1" bandRow="1">
                <a:tableStyleId>{5C22544A-7EE6-4342-B048-85BDC9FD1C3A}</a:tableStyleId>
              </a:tblPr>
              <a:tblGrid>
                <a:gridCol w="1693267">
                  <a:extLst>
                    <a:ext uri="{9D8B030D-6E8A-4147-A177-3AD203B41FA5}">
                      <a16:colId xmlns:a16="http://schemas.microsoft.com/office/drawing/2014/main" val="3682415041"/>
                    </a:ext>
                  </a:extLst>
                </a:gridCol>
                <a:gridCol w="1693267">
                  <a:extLst>
                    <a:ext uri="{9D8B030D-6E8A-4147-A177-3AD203B41FA5}">
                      <a16:colId xmlns:a16="http://schemas.microsoft.com/office/drawing/2014/main" val="1248405914"/>
                    </a:ext>
                  </a:extLst>
                </a:gridCol>
                <a:gridCol w="1693267">
                  <a:extLst>
                    <a:ext uri="{9D8B030D-6E8A-4147-A177-3AD203B41FA5}">
                      <a16:colId xmlns:a16="http://schemas.microsoft.com/office/drawing/2014/main" val="3609021720"/>
                    </a:ext>
                  </a:extLst>
                </a:gridCol>
              </a:tblGrid>
              <a:tr h="903336">
                <a:tc>
                  <a:txBody>
                    <a:bodyPr/>
                    <a:lstStyle/>
                    <a:p>
                      <a:endParaRPr lang="zh-CN" altLang="en-US" dirty="0"/>
                    </a:p>
                  </a:txBody>
                  <a:tcPr>
                    <a:solidFill>
                      <a:schemeClr val="tx2">
                        <a:lumMod val="60000"/>
                        <a:lumOff val="40000"/>
                      </a:schemeClr>
                    </a:solidFill>
                  </a:tcPr>
                </a:tc>
                <a:tc>
                  <a:txBody>
                    <a:bodyPr/>
                    <a:lstStyle/>
                    <a:p>
                      <a:pPr algn="ctr"/>
                      <a:r>
                        <a:rPr lang="en-US" altLang="zh-CN" sz="2000" dirty="0">
                          <a:latin typeface="Calibri" panose="020F0502020204030204" pitchFamily="34" charset="0"/>
                          <a:ea typeface="Calibri" panose="020F0502020204030204" pitchFamily="34" charset="0"/>
                          <a:cs typeface="Calibri" panose="020F0502020204030204" pitchFamily="34" charset="0"/>
                        </a:rPr>
                        <a:t>Time Complexity</a:t>
                      </a:r>
                      <a:endParaRPr lang="zh-CN" altLang="en-US" sz="2000" dirty="0">
                        <a:latin typeface="Calibri" panose="020F0502020204030204" pitchFamily="34" charset="0"/>
                        <a:cs typeface="Calibri" panose="020F0502020204030204" pitchFamily="34" charset="0"/>
                      </a:endParaRPr>
                    </a:p>
                  </a:txBody>
                  <a:tcPr>
                    <a:solidFill>
                      <a:schemeClr val="accent2">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2000" dirty="0">
                          <a:latin typeface="Calibri" panose="020F0502020204030204" pitchFamily="34" charset="0"/>
                          <a:ea typeface="Calibri" panose="020F0502020204030204" pitchFamily="34" charset="0"/>
                          <a:cs typeface="Calibri" panose="020F0502020204030204" pitchFamily="34" charset="0"/>
                        </a:rPr>
                        <a:t>Space Complexity</a:t>
                      </a:r>
                      <a:endParaRPr lang="zh-CN" altLang="en-US" sz="2000" dirty="0">
                        <a:latin typeface="Calibri" panose="020F0502020204030204" pitchFamily="34" charset="0"/>
                        <a:cs typeface="Calibri" panose="020F0502020204030204" pitchFamily="34" charset="0"/>
                      </a:endParaRPr>
                    </a:p>
                  </a:txBody>
                  <a:tcPr>
                    <a:solidFill>
                      <a:schemeClr val="accent1">
                        <a:lumMod val="60000"/>
                        <a:lumOff val="40000"/>
                      </a:schemeClr>
                    </a:solidFill>
                  </a:tcPr>
                </a:tc>
                <a:extLst>
                  <a:ext uri="{0D108BD9-81ED-4DB2-BD59-A6C34878D82A}">
                    <a16:rowId xmlns:a16="http://schemas.microsoft.com/office/drawing/2014/main" val="3844209309"/>
                  </a:ext>
                </a:extLst>
              </a:tr>
              <a:tr h="90333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2000" b="1" dirty="0">
                          <a:solidFill>
                            <a:schemeClr val="bg1"/>
                          </a:solidFill>
                          <a:latin typeface="Calibri" panose="020F0502020204030204" pitchFamily="34" charset="0"/>
                          <a:ea typeface="Calibri" panose="020F0502020204030204" pitchFamily="34" charset="0"/>
                          <a:cs typeface="Calibri" panose="020F0502020204030204" pitchFamily="34" charset="0"/>
                        </a:rPr>
                        <a:t>DFS</a:t>
                      </a:r>
                      <a:endParaRPr lang="zh-CN" altLang="en-US" sz="2000" b="1" dirty="0">
                        <a:solidFill>
                          <a:schemeClr val="bg1"/>
                        </a:solidFill>
                        <a:latin typeface="Calibri" panose="020F0502020204030204" pitchFamily="34" charset="0"/>
                        <a:cs typeface="Calibri" panose="020F0502020204030204" pitchFamily="34" charset="0"/>
                      </a:endParaRPr>
                    </a:p>
                  </a:txBody>
                  <a:tcPr>
                    <a:solidFill>
                      <a:schemeClr val="accent3">
                        <a:lumMod val="60000"/>
                        <a:lumOff val="40000"/>
                      </a:schemeClr>
                    </a:solidFill>
                  </a:tcPr>
                </a:tc>
                <a:tc>
                  <a:txBody>
                    <a:bodyPr/>
                    <a:lstStyle/>
                    <a:p>
                      <a:pPr algn="ctr"/>
                      <a:r>
                        <a:rPr lang="en-US" altLang="zh-CN" b="1" dirty="0">
                          <a:latin typeface="Calibri" panose="020F0502020204030204" pitchFamily="34" charset="0"/>
                          <a:ea typeface="Calibri" panose="020F0502020204030204" pitchFamily="34" charset="0"/>
                          <a:cs typeface="Calibri" panose="020F0502020204030204" pitchFamily="34" charset="0"/>
                        </a:rPr>
                        <a:t>O(2^n)</a:t>
                      </a:r>
                      <a:endParaRPr lang="zh-CN" altLang="en-US" b="1" dirty="0">
                        <a:latin typeface="Calibri" panose="020F0502020204030204" pitchFamily="34" charset="0"/>
                        <a:cs typeface="Calibri" panose="020F0502020204030204" pitchFamily="34" charset="0"/>
                      </a:endParaRPr>
                    </a:p>
                  </a:txBody>
                  <a:tcP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b="1" dirty="0">
                          <a:latin typeface="Calibri" panose="020F0502020204030204" pitchFamily="34" charset="0"/>
                          <a:ea typeface="Calibri" panose="020F0502020204030204" pitchFamily="34" charset="0"/>
                          <a:cs typeface="Calibri" panose="020F0502020204030204" pitchFamily="34" charset="0"/>
                        </a:rPr>
                        <a:t>O(n^2)</a:t>
                      </a:r>
                      <a:endParaRPr lang="zh-CN" altLang="en-US" b="1" dirty="0">
                        <a:latin typeface="Calibri" panose="020F0502020204030204" pitchFamily="34" charset="0"/>
                        <a:cs typeface="Calibri" panose="020F0502020204030204" pitchFamily="34" charset="0"/>
                      </a:endParaRPr>
                    </a:p>
                  </a:txBody>
                  <a:tcPr>
                    <a:solidFill>
                      <a:schemeClr val="accent3">
                        <a:lumMod val="20000"/>
                        <a:lumOff val="80000"/>
                      </a:schemeClr>
                    </a:solidFill>
                  </a:tcPr>
                </a:tc>
                <a:extLst>
                  <a:ext uri="{0D108BD9-81ED-4DB2-BD59-A6C34878D82A}">
                    <a16:rowId xmlns:a16="http://schemas.microsoft.com/office/drawing/2014/main" val="4190155546"/>
                  </a:ext>
                </a:extLst>
              </a:tr>
              <a:tr h="90333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2000" b="1" dirty="0">
                          <a:solidFill>
                            <a:schemeClr val="bg1"/>
                          </a:solidFill>
                          <a:latin typeface="Calibri" panose="020F0502020204030204" pitchFamily="34" charset="0"/>
                          <a:ea typeface="Calibri" panose="020F0502020204030204" pitchFamily="34" charset="0"/>
                          <a:cs typeface="Calibri" panose="020F0502020204030204" pitchFamily="34" charset="0"/>
                        </a:rPr>
                        <a:t>Rogue</a:t>
                      </a:r>
                      <a:endParaRPr lang="zh-CN" altLang="en-US" sz="2000" b="1" dirty="0">
                        <a:solidFill>
                          <a:schemeClr val="bg1"/>
                        </a:solidFill>
                        <a:latin typeface="Calibri" panose="020F0502020204030204" pitchFamily="34" charset="0"/>
                        <a:cs typeface="Calibri" panose="020F0502020204030204" pitchFamily="34" charset="0"/>
                      </a:endParaRPr>
                    </a:p>
                  </a:txBody>
                  <a:tcPr>
                    <a:solidFill>
                      <a:schemeClr val="accent3">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b="1" dirty="0">
                          <a:latin typeface="Calibri" panose="020F0502020204030204" pitchFamily="34" charset="0"/>
                          <a:ea typeface="Calibri" panose="020F0502020204030204" pitchFamily="34" charset="0"/>
                          <a:cs typeface="Calibri" panose="020F0502020204030204" pitchFamily="34" charset="0"/>
                        </a:rPr>
                        <a:t>O(2^n)</a:t>
                      </a:r>
                      <a:endParaRPr lang="zh-CN" altLang="en-US" b="1" dirty="0">
                        <a:latin typeface="Calibri" panose="020F0502020204030204" pitchFamily="34" charset="0"/>
                        <a:cs typeface="Calibri" panose="020F050202020403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b="1" dirty="0">
                          <a:latin typeface="Calibri" panose="020F0502020204030204" pitchFamily="34" charset="0"/>
                          <a:ea typeface="Calibri" panose="020F0502020204030204" pitchFamily="34" charset="0"/>
                          <a:cs typeface="Calibri" panose="020F0502020204030204" pitchFamily="34" charset="0"/>
                        </a:rPr>
                        <a:t>O(n^2)</a:t>
                      </a:r>
                      <a:endParaRPr lang="zh-CN" altLang="en-US" b="1"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2106110395"/>
                  </a:ext>
                </a:extLst>
              </a:tr>
            </a:tbl>
          </a:graphicData>
        </a:graphic>
      </p:graphicFrame>
      <p:cxnSp>
        <p:nvCxnSpPr>
          <p:cNvPr id="11" name="直接连接符 10">
            <a:extLst>
              <a:ext uri="{FF2B5EF4-FFF2-40B4-BE49-F238E27FC236}">
                <a16:creationId xmlns:a16="http://schemas.microsoft.com/office/drawing/2014/main" id="{0E49901E-B356-3F3C-7459-9E7EEE17A55C}"/>
              </a:ext>
            </a:extLst>
          </p:cNvPr>
          <p:cNvCxnSpPr>
            <a:cxnSpLocks/>
          </p:cNvCxnSpPr>
          <p:nvPr/>
        </p:nvCxnSpPr>
        <p:spPr>
          <a:xfrm>
            <a:off x="1378433" y="3162967"/>
            <a:ext cx="1664826" cy="859935"/>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2" name="文本框 11">
            <a:extLst>
              <a:ext uri="{FF2B5EF4-FFF2-40B4-BE49-F238E27FC236}">
                <a16:creationId xmlns:a16="http://schemas.microsoft.com/office/drawing/2014/main" id="{6888C7DF-88D1-4B7F-C3B7-90C01D9FE179}"/>
              </a:ext>
            </a:extLst>
          </p:cNvPr>
          <p:cNvSpPr txBox="1"/>
          <p:nvPr/>
        </p:nvSpPr>
        <p:spPr>
          <a:xfrm>
            <a:off x="1458265" y="3603910"/>
            <a:ext cx="1027652" cy="307777"/>
          </a:xfrm>
          <a:prstGeom prst="rect">
            <a:avLst/>
          </a:prstGeom>
          <a:noFill/>
        </p:spPr>
        <p:txBody>
          <a:bodyPr wrap="square" rtlCol="0">
            <a:spAutoFit/>
          </a:bodyPr>
          <a:lstStyle/>
          <a:p>
            <a:r>
              <a:rPr lang="en-US" altLang="zh-CN" sz="1400" b="1" dirty="0">
                <a:solidFill>
                  <a:schemeClr val="bg1"/>
                </a:solidFill>
                <a:latin typeface="Calibri" panose="020F0502020204030204" pitchFamily="34" charset="0"/>
                <a:ea typeface="Calibri" panose="020F0502020204030204" pitchFamily="34" charset="0"/>
                <a:cs typeface="Calibri" panose="020F0502020204030204" pitchFamily="34" charset="0"/>
              </a:rPr>
              <a:t>Algorithm</a:t>
            </a:r>
            <a:endParaRPr lang="zh-CN" altLang="en-US" sz="1400" b="1" dirty="0">
              <a:solidFill>
                <a:schemeClr val="bg1"/>
              </a:solidFill>
              <a:latin typeface="Calibri" panose="020F0502020204030204" pitchFamily="34" charset="0"/>
              <a:cs typeface="Calibri" panose="020F0502020204030204" pitchFamily="34" charset="0"/>
            </a:endParaRPr>
          </a:p>
        </p:txBody>
      </p:sp>
      <p:sp>
        <p:nvSpPr>
          <p:cNvPr id="13" name="文本框 12">
            <a:extLst>
              <a:ext uri="{FF2B5EF4-FFF2-40B4-BE49-F238E27FC236}">
                <a16:creationId xmlns:a16="http://schemas.microsoft.com/office/drawing/2014/main" id="{89393571-65A0-4D90-6FA1-D3E33BFCFC1F}"/>
              </a:ext>
            </a:extLst>
          </p:cNvPr>
          <p:cNvSpPr txBox="1"/>
          <p:nvPr/>
        </p:nvSpPr>
        <p:spPr>
          <a:xfrm>
            <a:off x="2151478" y="3238551"/>
            <a:ext cx="1027652" cy="307777"/>
          </a:xfrm>
          <a:prstGeom prst="rect">
            <a:avLst/>
          </a:prstGeom>
          <a:noFill/>
        </p:spPr>
        <p:txBody>
          <a:bodyPr wrap="square" rtlCol="0">
            <a:spAutoFit/>
          </a:bodyPr>
          <a:lstStyle/>
          <a:p>
            <a:r>
              <a:rPr lang="en-US" altLang="zh-CN" sz="1400" b="1" dirty="0">
                <a:solidFill>
                  <a:schemeClr val="bg1"/>
                </a:solidFill>
                <a:latin typeface="Calibri" panose="020F0502020204030204" pitchFamily="34" charset="0"/>
                <a:ea typeface="Calibri" panose="020F0502020204030204" pitchFamily="34" charset="0"/>
                <a:cs typeface="Calibri" panose="020F0502020204030204" pitchFamily="34" charset="0"/>
              </a:rPr>
              <a:t>Efficiency</a:t>
            </a:r>
            <a:endParaRPr lang="zh-CN" altLang="en-US" sz="1400" b="1" dirty="0">
              <a:solidFill>
                <a:schemeClr val="bg1"/>
              </a:solidFill>
              <a:latin typeface="Calibri" panose="020F0502020204030204" pitchFamily="34" charset="0"/>
              <a:cs typeface="Calibri" panose="020F0502020204030204" pitchFamily="34" charset="0"/>
            </a:endParaRPr>
          </a:p>
        </p:txBody>
      </p:sp>
      <p:sp>
        <p:nvSpPr>
          <p:cNvPr id="14" name="文本框 13">
            <a:extLst>
              <a:ext uri="{FF2B5EF4-FFF2-40B4-BE49-F238E27FC236}">
                <a16:creationId xmlns:a16="http://schemas.microsoft.com/office/drawing/2014/main" id="{8DDD8583-9E4C-D237-7DB3-0CF8BC3B665C}"/>
              </a:ext>
            </a:extLst>
          </p:cNvPr>
          <p:cNvSpPr txBox="1"/>
          <p:nvPr/>
        </p:nvSpPr>
        <p:spPr>
          <a:xfrm>
            <a:off x="8407712" y="230213"/>
            <a:ext cx="1894528" cy="369332"/>
          </a:xfrm>
          <a:prstGeom prst="rect">
            <a:avLst/>
          </a:prstGeom>
          <a:noFill/>
        </p:spPr>
        <p:txBody>
          <a:bodyPr wrap="square" rtlCol="0">
            <a:spAutoFit/>
          </a:bodyPr>
          <a:lstStyle/>
          <a:p>
            <a:r>
              <a:rPr lang="en-US" altLang="zh-CN" b="1" dirty="0">
                <a:solidFill>
                  <a:schemeClr val="bg1"/>
                </a:solidFill>
                <a:latin typeface="Calibri" panose="020F0502020204030204" pitchFamily="34" charset="0"/>
                <a:ea typeface="Calibri" panose="020F0502020204030204" pitchFamily="34" charset="0"/>
                <a:cs typeface="Calibri" panose="020F0502020204030204" pitchFamily="34" charset="0"/>
              </a:rPr>
              <a:t>Pseudo Codes</a:t>
            </a:r>
            <a:endParaRPr lang="zh-CN" altLang="en-US" b="1" dirty="0">
              <a:solidFill>
                <a:schemeClr val="bg1"/>
              </a:solidFill>
              <a:latin typeface="Calibri" panose="020F0502020204030204" pitchFamily="34" charset="0"/>
              <a:cs typeface="Calibri" panose="020F0502020204030204" pitchFamily="34" charset="0"/>
            </a:endParaRPr>
          </a:p>
        </p:txBody>
      </p:sp>
      <p:pic>
        <p:nvPicPr>
          <p:cNvPr id="15" name="图片 14">
            <a:extLst>
              <a:ext uri="{FF2B5EF4-FFF2-40B4-BE49-F238E27FC236}">
                <a16:creationId xmlns:a16="http://schemas.microsoft.com/office/drawing/2014/main" id="{F5B61B3A-FB0A-9B32-D210-0BA95DD5AE6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t="992" b="2805"/>
          <a:stretch>
            <a:fillRect/>
          </a:stretch>
        </p:blipFill>
        <p:spPr>
          <a:xfrm>
            <a:off x="7887905" y="558673"/>
            <a:ext cx="2578353" cy="3139373"/>
          </a:xfrm>
          <a:prstGeom prst="rect">
            <a:avLst/>
          </a:prstGeom>
          <a:noFill/>
          <a:ln>
            <a:noFill/>
          </a:ln>
        </p:spPr>
      </p:pic>
      <p:pic>
        <p:nvPicPr>
          <p:cNvPr id="16" name="图片 15">
            <a:extLst>
              <a:ext uri="{FF2B5EF4-FFF2-40B4-BE49-F238E27FC236}">
                <a16:creationId xmlns:a16="http://schemas.microsoft.com/office/drawing/2014/main" id="{C665A130-7F93-00CA-453D-B526730C1BB1}"/>
              </a:ext>
            </a:extLst>
          </p:cNvPr>
          <p:cNvPicPr>
            <a:picLocks noChangeAspect="1"/>
          </p:cNvPicPr>
          <p:nvPr/>
        </p:nvPicPr>
        <p:blipFill>
          <a:blip r:embed="rId3"/>
          <a:srcRect t="1009" b="1219"/>
          <a:stretch>
            <a:fillRect/>
          </a:stretch>
        </p:blipFill>
        <p:spPr>
          <a:xfrm>
            <a:off x="7887905" y="3681486"/>
            <a:ext cx="2578352" cy="2568730"/>
          </a:xfrm>
          <a:prstGeom prst="rect">
            <a:avLst/>
          </a:prstGeom>
          <a:ln>
            <a:noFill/>
          </a:ln>
        </p:spPr>
      </p:pic>
    </p:spTree>
    <p:extLst>
      <p:ext uri="{BB962C8B-B14F-4D97-AF65-F5344CB8AC3E}">
        <p14:creationId xmlns:p14="http://schemas.microsoft.com/office/powerpoint/2010/main" val="37814464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id="{5F57858B-C815-358C-812E-8B912F8B71EC}"/>
              </a:ext>
            </a:extLst>
          </p:cNvPr>
          <p:cNvGrpSpPr/>
          <p:nvPr/>
        </p:nvGrpSpPr>
        <p:grpSpPr>
          <a:xfrm>
            <a:off x="666751" y="1168400"/>
            <a:ext cx="11027266" cy="4901074"/>
            <a:chOff x="666751" y="1130300"/>
            <a:chExt cx="11027266" cy="4901074"/>
          </a:xfrm>
        </p:grpSpPr>
        <p:grpSp>
          <p:nvGrpSpPr>
            <p:cNvPr id="3" name="组合 2">
              <a:extLst>
                <a:ext uri="{FF2B5EF4-FFF2-40B4-BE49-F238E27FC236}">
                  <a16:creationId xmlns:a16="http://schemas.microsoft.com/office/drawing/2014/main" id="{11987354-10B5-0348-224D-B00548D0EE7D}"/>
                </a:ext>
              </a:extLst>
            </p:cNvPr>
            <p:cNvGrpSpPr/>
            <p:nvPr/>
          </p:nvGrpSpPr>
          <p:grpSpPr>
            <a:xfrm>
              <a:off x="666751" y="1130300"/>
              <a:ext cx="5429248" cy="2444750"/>
              <a:chOff x="666751" y="1447800"/>
              <a:chExt cx="5429248" cy="2444750"/>
            </a:xfrm>
          </p:grpSpPr>
          <p:sp>
            <p:nvSpPr>
              <p:cNvPr id="55" name="直角三角形 54">
                <a:extLst>
                  <a:ext uri="{FF2B5EF4-FFF2-40B4-BE49-F238E27FC236}">
                    <a16:creationId xmlns:a16="http://schemas.microsoft.com/office/drawing/2014/main" id="{39C7CFAB-A6C7-FD2C-F4A8-73679FB03535}"/>
                  </a:ext>
                </a:extLst>
              </p:cNvPr>
              <p:cNvSpPr/>
              <p:nvPr/>
            </p:nvSpPr>
            <p:spPr>
              <a:xfrm flipH="1">
                <a:off x="3651249" y="1447800"/>
                <a:ext cx="2444750" cy="2444750"/>
              </a:xfrm>
              <a:prstGeom prst="rtTriangle">
                <a:avLst/>
              </a:prstGeom>
              <a:solidFill>
                <a:schemeClr val="accent1">
                  <a:alpha val="50000"/>
                </a:schemeClr>
              </a:solid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grpSp>
            <p:nvGrpSpPr>
              <p:cNvPr id="56" name="组合 55">
                <a:extLst>
                  <a:ext uri="{FF2B5EF4-FFF2-40B4-BE49-F238E27FC236}">
                    <a16:creationId xmlns:a16="http://schemas.microsoft.com/office/drawing/2014/main" id="{952EE417-9801-F66F-95BB-0E8C756315ED}"/>
                  </a:ext>
                </a:extLst>
              </p:cNvPr>
              <p:cNvGrpSpPr/>
              <p:nvPr/>
            </p:nvGrpSpPr>
            <p:grpSpPr>
              <a:xfrm>
                <a:off x="666751" y="1913083"/>
                <a:ext cx="4790907" cy="1288800"/>
                <a:chOff x="666751" y="1913083"/>
                <a:chExt cx="4790907" cy="1288800"/>
              </a:xfrm>
            </p:grpSpPr>
            <p:sp>
              <p:nvSpPr>
                <p:cNvPr id="57" name="矩形: 圆角 56">
                  <a:extLst>
                    <a:ext uri="{FF2B5EF4-FFF2-40B4-BE49-F238E27FC236}">
                      <a16:creationId xmlns:a16="http://schemas.microsoft.com/office/drawing/2014/main" id="{CED5113C-091E-F11D-9956-3A83CA98D1B1}"/>
                    </a:ext>
                  </a:extLst>
                </p:cNvPr>
                <p:cNvSpPr/>
                <p:nvPr/>
              </p:nvSpPr>
              <p:spPr>
                <a:xfrm flipH="1">
                  <a:off x="666751" y="1913083"/>
                  <a:ext cx="4790907" cy="1288800"/>
                </a:xfrm>
                <a:prstGeom prst="roundRect">
                  <a:avLst>
                    <a:gd name="adj" fmla="val 8000"/>
                  </a:avLst>
                </a:prstGeom>
                <a:solidFill>
                  <a:schemeClr val="tx2">
                    <a:alpha val="15000"/>
                  </a:schemeClr>
                </a:solidFill>
                <a:ln w="6055" cap="flat">
                  <a:noFill/>
                  <a:prstDash val="solid"/>
                  <a:miter/>
                </a:ln>
              </p:spPr>
              <p:txBody>
                <a:bodyPr rtlCol="0" anchor="ctr"/>
                <a:lstStyle/>
                <a:p>
                  <a:endParaRPr lang="zh-CN" altLang="en-US"/>
                </a:p>
              </p:txBody>
            </p:sp>
            <p:sp>
              <p:nvSpPr>
                <p:cNvPr id="58" name="矩形 57">
                  <a:extLst>
                    <a:ext uri="{FF2B5EF4-FFF2-40B4-BE49-F238E27FC236}">
                      <a16:creationId xmlns:a16="http://schemas.microsoft.com/office/drawing/2014/main" id="{20EF3F4E-7BBB-6F44-309A-2F0680C0D4BC}"/>
                    </a:ext>
                  </a:extLst>
                </p:cNvPr>
                <p:cNvSpPr/>
                <p:nvPr/>
              </p:nvSpPr>
              <p:spPr>
                <a:xfrm flipH="1">
                  <a:off x="800099" y="2054416"/>
                  <a:ext cx="325213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p>
                  <a:r>
                    <a:rPr lang="en-US" altLang="zh-CN" sz="1600" b="1" dirty="0">
                      <a:solidFill>
                        <a:schemeClr val="tx1"/>
                      </a:solidFill>
                      <a:effectLst/>
                      <a:latin typeface="等线" panose="02010600030101010101" pitchFamily="2" charset="-122"/>
                      <a:ea typeface="等线" panose="02010600030101010101" pitchFamily="2" charset="-122"/>
                    </a:rPr>
                    <a:t>Strength</a:t>
                  </a:r>
                  <a:endParaRPr lang="en-US" altLang="zh-CN" sz="1600" b="1" dirty="0">
                    <a:solidFill>
                      <a:schemeClr val="tx1"/>
                    </a:solidFill>
                    <a:latin typeface="等线" panose="02010600030101010101" pitchFamily="2" charset="-122"/>
                    <a:ea typeface="等线" panose="02010600030101010101" pitchFamily="2" charset="-122"/>
                  </a:endParaRPr>
                </a:p>
              </p:txBody>
            </p:sp>
            <p:sp>
              <p:nvSpPr>
                <p:cNvPr id="59" name="矩形 58">
                  <a:extLst>
                    <a:ext uri="{FF2B5EF4-FFF2-40B4-BE49-F238E27FC236}">
                      <a16:creationId xmlns:a16="http://schemas.microsoft.com/office/drawing/2014/main" id="{7B399BE8-8F8E-151A-1B48-FBEAF4B29F15}"/>
                    </a:ext>
                  </a:extLst>
                </p:cNvPr>
                <p:cNvSpPr/>
                <p:nvPr/>
              </p:nvSpPr>
              <p:spPr>
                <a:xfrm flipH="1">
                  <a:off x="800099" y="2404544"/>
                  <a:ext cx="3252129" cy="7931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marL="171450" indent="-171450">
                    <a:lnSpc>
                      <a:spcPct val="130000"/>
                    </a:lnSpc>
                    <a:buFont typeface="Arial" panose="020B0604020202020204" pitchFamily="34" charset="0"/>
                    <a:buChar char="•"/>
                  </a:pPr>
                  <a:r>
                    <a:rPr lang="en-US" altLang="zh-CN" sz="1200" kern="100" dirty="0" err="1">
                      <a:solidFill>
                        <a:schemeClr val="tx1"/>
                      </a:solidFill>
                      <a:latin typeface="Calibri" panose="020F0502020204030204" pitchFamily="34" charset="0"/>
                      <a:ea typeface="Calibri" panose="020F0502020204030204" pitchFamily="34" charset="0"/>
                      <a:cs typeface="Calibri" panose="020F0502020204030204" pitchFamily="34" charset="0"/>
                    </a:rPr>
                    <a:t>Determinie</a:t>
                  </a:r>
                  <a:r>
                    <a:rPr lang="en-US" altLang="zh-CN" sz="1200" kern="100" dirty="0">
                      <a:solidFill>
                        <a:schemeClr val="tx1"/>
                      </a:solidFill>
                      <a:latin typeface="Calibri" panose="020F0502020204030204" pitchFamily="34" charset="0"/>
                      <a:ea typeface="Calibri" panose="020F0502020204030204" pitchFamily="34" charset="0"/>
                      <a:cs typeface="Calibri" panose="020F0502020204030204" pitchFamily="34" charset="0"/>
                    </a:rPr>
                    <a:t> the shortest path</a:t>
                  </a:r>
                </a:p>
                <a:p>
                  <a:pPr marL="171450" indent="-171450">
                    <a:lnSpc>
                      <a:spcPct val="130000"/>
                    </a:lnSpc>
                    <a:buFont typeface="Arial" panose="020B0604020202020204" pitchFamily="34" charset="0"/>
                    <a:buChar char="•"/>
                  </a:pPr>
                  <a:r>
                    <a:rPr lang="en-US" altLang="zh-CN" sz="1200" kern="100" dirty="0">
                      <a:solidFill>
                        <a:schemeClr val="tx1"/>
                      </a:solidFill>
                      <a:latin typeface="Calibri" panose="020F0502020204030204" pitchFamily="34" charset="0"/>
                      <a:ea typeface="Calibri" panose="020F0502020204030204" pitchFamily="34" charset="0"/>
                      <a:cs typeface="Calibri" panose="020F0502020204030204" pitchFamily="34" charset="0"/>
                    </a:rPr>
                    <a:t>Maintain a safe distance</a:t>
                  </a:r>
                </a:p>
                <a:p>
                  <a:pPr marL="171450" indent="-171450">
                    <a:lnSpc>
                      <a:spcPct val="130000"/>
                    </a:lnSpc>
                    <a:buFont typeface="Arial" panose="020B0604020202020204" pitchFamily="34" charset="0"/>
                    <a:buChar char="•"/>
                  </a:pPr>
                  <a:r>
                    <a:rPr kumimoji="1" lang="en-US" altLang="zh-CN" sz="1200" dirty="0">
                      <a:solidFill>
                        <a:schemeClr val="tx1"/>
                      </a:solidFill>
                      <a:latin typeface="Calibri" panose="020F0502020204030204" pitchFamily="34" charset="0"/>
                      <a:ea typeface="Calibri" panose="020F0502020204030204" pitchFamily="34" charset="0"/>
                      <a:cs typeface="Calibri" panose="020F0502020204030204" pitchFamily="34" charset="0"/>
                    </a:rPr>
                    <a:t>Discover corridor-connected cycles</a:t>
                  </a:r>
                </a:p>
              </p:txBody>
            </p:sp>
            <p:sp>
              <p:nvSpPr>
                <p:cNvPr id="60" name="矩形: 对角圆角 59">
                  <a:extLst>
                    <a:ext uri="{FF2B5EF4-FFF2-40B4-BE49-F238E27FC236}">
                      <a16:creationId xmlns:a16="http://schemas.microsoft.com/office/drawing/2014/main" id="{87B2A802-7EB4-CB27-E872-17AD5A6DE954}"/>
                    </a:ext>
                  </a:extLst>
                </p:cNvPr>
                <p:cNvSpPr/>
                <p:nvPr/>
              </p:nvSpPr>
              <p:spPr>
                <a:xfrm flipH="1">
                  <a:off x="4168857" y="1913083"/>
                  <a:ext cx="1288800" cy="1288800"/>
                </a:xfrm>
                <a:prstGeom prst="round2DiagRect">
                  <a:avLst/>
                </a:prstGeom>
                <a:solidFill>
                  <a:srgbClr val="FFFFFF"/>
                </a:solidFill>
                <a:ln w="254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4000" b="1" dirty="0">
                      <a:solidFill>
                        <a:schemeClr val="accent1"/>
                      </a:solidFill>
                      <a:latin typeface="Calibri" panose="020F0502020204030204" pitchFamily="34" charset="0"/>
                      <a:ea typeface="Calibri" panose="020F0502020204030204" pitchFamily="34" charset="0"/>
                      <a:cs typeface="Calibri" panose="020F0502020204030204" pitchFamily="34" charset="0"/>
                    </a:rPr>
                    <a:t>S</a:t>
                  </a:r>
                  <a:endParaRPr lang="zh-CN" altLang="en-US" sz="4000" b="1" dirty="0">
                    <a:solidFill>
                      <a:schemeClr val="accent1"/>
                    </a:solidFill>
                    <a:latin typeface="Calibri" panose="020F0502020204030204" pitchFamily="34" charset="0"/>
                    <a:ea typeface="等线 Light" panose="02010600030101010101" pitchFamily="2" charset="-122"/>
                    <a:cs typeface="Calibri" panose="020F0502020204030204" pitchFamily="34" charset="0"/>
                  </a:endParaRPr>
                </a:p>
              </p:txBody>
            </p:sp>
          </p:grpSp>
        </p:grpSp>
        <p:grpSp>
          <p:nvGrpSpPr>
            <p:cNvPr id="34" name="组合 33">
              <a:extLst>
                <a:ext uri="{FF2B5EF4-FFF2-40B4-BE49-F238E27FC236}">
                  <a16:creationId xmlns:a16="http://schemas.microsoft.com/office/drawing/2014/main" id="{BD533906-45E8-D4FF-71D8-10F10FCF079D}"/>
                </a:ext>
              </a:extLst>
            </p:cNvPr>
            <p:cNvGrpSpPr/>
            <p:nvPr/>
          </p:nvGrpSpPr>
          <p:grpSpPr>
            <a:xfrm flipH="1">
              <a:off x="6089652" y="1130300"/>
              <a:ext cx="5429248" cy="2444750"/>
              <a:chOff x="666751" y="1447800"/>
              <a:chExt cx="5429248" cy="2444750"/>
            </a:xfrm>
          </p:grpSpPr>
          <p:sp>
            <p:nvSpPr>
              <p:cNvPr id="49" name="直角三角形 48">
                <a:extLst>
                  <a:ext uri="{FF2B5EF4-FFF2-40B4-BE49-F238E27FC236}">
                    <a16:creationId xmlns:a16="http://schemas.microsoft.com/office/drawing/2014/main" id="{066099F8-1A66-6488-76E5-10883CC1D2CF}"/>
                  </a:ext>
                </a:extLst>
              </p:cNvPr>
              <p:cNvSpPr/>
              <p:nvPr/>
            </p:nvSpPr>
            <p:spPr>
              <a:xfrm flipH="1">
                <a:off x="3651249" y="1447800"/>
                <a:ext cx="2444750" cy="2444750"/>
              </a:xfrm>
              <a:prstGeom prst="rtTriangle">
                <a:avLst/>
              </a:prstGeom>
              <a:solidFill>
                <a:schemeClr val="tx2">
                  <a:lumMod val="60000"/>
                  <a:lumOff val="40000"/>
                </a:schemeClr>
              </a:solid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dirty="0"/>
              </a:p>
            </p:txBody>
          </p:sp>
          <p:grpSp>
            <p:nvGrpSpPr>
              <p:cNvPr id="50" name="组合 49">
                <a:extLst>
                  <a:ext uri="{FF2B5EF4-FFF2-40B4-BE49-F238E27FC236}">
                    <a16:creationId xmlns:a16="http://schemas.microsoft.com/office/drawing/2014/main" id="{6069BC25-8D81-9871-3B4C-0063630EC724}"/>
                  </a:ext>
                </a:extLst>
              </p:cNvPr>
              <p:cNvGrpSpPr/>
              <p:nvPr/>
            </p:nvGrpSpPr>
            <p:grpSpPr>
              <a:xfrm>
                <a:off x="666751" y="1913083"/>
                <a:ext cx="4790907" cy="1288800"/>
                <a:chOff x="666751" y="1913083"/>
                <a:chExt cx="4790907" cy="1288800"/>
              </a:xfrm>
            </p:grpSpPr>
            <p:sp>
              <p:nvSpPr>
                <p:cNvPr id="51" name="矩形: 圆角 50">
                  <a:extLst>
                    <a:ext uri="{FF2B5EF4-FFF2-40B4-BE49-F238E27FC236}">
                      <a16:creationId xmlns:a16="http://schemas.microsoft.com/office/drawing/2014/main" id="{D126208F-36CC-1303-3A0E-91CA8DA07434}"/>
                    </a:ext>
                  </a:extLst>
                </p:cNvPr>
                <p:cNvSpPr/>
                <p:nvPr/>
              </p:nvSpPr>
              <p:spPr>
                <a:xfrm flipH="1">
                  <a:off x="666751" y="1913083"/>
                  <a:ext cx="4790907" cy="1288800"/>
                </a:xfrm>
                <a:prstGeom prst="roundRect">
                  <a:avLst>
                    <a:gd name="adj" fmla="val 8000"/>
                  </a:avLst>
                </a:prstGeom>
                <a:solidFill>
                  <a:schemeClr val="tx2">
                    <a:alpha val="15000"/>
                  </a:schemeClr>
                </a:solidFill>
                <a:ln w="6055" cap="flat">
                  <a:noFill/>
                  <a:prstDash val="solid"/>
                  <a:miter/>
                </a:ln>
              </p:spPr>
              <p:txBody>
                <a:bodyPr rtlCol="0" anchor="ctr"/>
                <a:lstStyle/>
                <a:p>
                  <a:endParaRPr lang="zh-CN" altLang="en-US"/>
                </a:p>
              </p:txBody>
            </p:sp>
            <p:sp>
              <p:nvSpPr>
                <p:cNvPr id="52" name="矩形 51">
                  <a:extLst>
                    <a:ext uri="{FF2B5EF4-FFF2-40B4-BE49-F238E27FC236}">
                      <a16:creationId xmlns:a16="http://schemas.microsoft.com/office/drawing/2014/main" id="{E97AD934-60BC-A134-D944-31FFEDFB02E6}"/>
                    </a:ext>
                  </a:extLst>
                </p:cNvPr>
                <p:cNvSpPr/>
                <p:nvPr/>
              </p:nvSpPr>
              <p:spPr>
                <a:xfrm flipH="1">
                  <a:off x="800099" y="2054416"/>
                  <a:ext cx="325213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p>
                  <a:r>
                    <a:rPr lang="en-US" altLang="zh-CN" sz="1600" b="1" dirty="0">
                      <a:solidFill>
                        <a:schemeClr val="tx1"/>
                      </a:solidFill>
                      <a:effectLst/>
                      <a:latin typeface="等线" panose="02010600030101010101" pitchFamily="2" charset="-122"/>
                      <a:ea typeface="等线" panose="02010600030101010101" pitchFamily="2" charset="-122"/>
                    </a:rPr>
                    <a:t>Weakness</a:t>
                  </a:r>
                  <a:endParaRPr lang="en-US" altLang="zh-CN" sz="1600" b="1" dirty="0">
                    <a:solidFill>
                      <a:schemeClr val="tx1"/>
                    </a:solidFill>
                    <a:latin typeface="等线" panose="02010600030101010101" pitchFamily="2" charset="-122"/>
                    <a:ea typeface="等线" panose="02010600030101010101" pitchFamily="2" charset="-122"/>
                  </a:endParaRPr>
                </a:p>
              </p:txBody>
            </p:sp>
            <p:sp>
              <p:nvSpPr>
                <p:cNvPr id="53" name="矩形 52">
                  <a:extLst>
                    <a:ext uri="{FF2B5EF4-FFF2-40B4-BE49-F238E27FC236}">
                      <a16:creationId xmlns:a16="http://schemas.microsoft.com/office/drawing/2014/main" id="{AC53B13B-F621-943C-B0B5-18338B16AE0C}"/>
                    </a:ext>
                  </a:extLst>
                </p:cNvPr>
                <p:cNvSpPr/>
                <p:nvPr/>
              </p:nvSpPr>
              <p:spPr>
                <a:xfrm flipH="1">
                  <a:off x="800099" y="2404544"/>
                  <a:ext cx="3252129" cy="553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marL="171450" indent="-171450">
                    <a:lnSpc>
                      <a:spcPct val="130000"/>
                    </a:lnSpc>
                    <a:buFont typeface="Arial" panose="020B0604020202020204" pitchFamily="34" charset="0"/>
                    <a:buChar char="•"/>
                  </a:pPr>
                  <a:r>
                    <a:rPr kumimoji="1" lang="en-US" altLang="zh-CN" sz="1200" dirty="0">
                      <a:solidFill>
                        <a:schemeClr val="tx1"/>
                      </a:solidFill>
                      <a:latin typeface="Calibri" panose="020F0502020204030204" pitchFamily="34" charset="0"/>
                      <a:ea typeface="Calibri" panose="020F0502020204030204" pitchFamily="34" charset="0"/>
                      <a:cs typeface="Calibri" panose="020F0502020204030204" pitchFamily="34" charset="0"/>
                    </a:rPr>
                    <a:t>High space complexity</a:t>
                  </a:r>
                </a:p>
                <a:p>
                  <a:pPr marL="171450" indent="-171450">
                    <a:lnSpc>
                      <a:spcPct val="130000"/>
                    </a:lnSpc>
                    <a:buFont typeface="Arial" panose="020B0604020202020204" pitchFamily="34" charset="0"/>
                    <a:buChar char="•"/>
                  </a:pPr>
                  <a:r>
                    <a:rPr kumimoji="1" lang="en-US" altLang="zh-CN" sz="1200" dirty="0">
                      <a:solidFill>
                        <a:schemeClr val="tx1"/>
                      </a:solidFill>
                      <a:latin typeface="Calibri" panose="020F0502020204030204" pitchFamily="34" charset="0"/>
                      <a:ea typeface="Calibri" panose="020F0502020204030204" pitchFamily="34" charset="0"/>
                      <a:cs typeface="Calibri" panose="020F0502020204030204" pitchFamily="34" charset="0"/>
                    </a:rPr>
                    <a:t>Dependence on the dungeon structure</a:t>
                  </a:r>
                </a:p>
              </p:txBody>
            </p:sp>
            <p:sp>
              <p:nvSpPr>
                <p:cNvPr id="54" name="矩形: 对角圆角 53">
                  <a:extLst>
                    <a:ext uri="{FF2B5EF4-FFF2-40B4-BE49-F238E27FC236}">
                      <a16:creationId xmlns:a16="http://schemas.microsoft.com/office/drawing/2014/main" id="{95E90D9C-3153-3E7C-3BD3-1BB96C9245E1}"/>
                    </a:ext>
                  </a:extLst>
                </p:cNvPr>
                <p:cNvSpPr/>
                <p:nvPr/>
              </p:nvSpPr>
              <p:spPr>
                <a:xfrm flipH="1">
                  <a:off x="4168857" y="1913083"/>
                  <a:ext cx="1288800" cy="1288800"/>
                </a:xfrm>
                <a:prstGeom prst="round2DiagRect">
                  <a:avLst/>
                </a:prstGeom>
                <a:solidFill>
                  <a:srgbClr val="FFFFFF"/>
                </a:solidFill>
                <a:ln w="254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4000" b="1" dirty="0">
                      <a:solidFill>
                        <a:schemeClr val="accent1"/>
                      </a:solidFill>
                      <a:latin typeface="Calibri" panose="020F0502020204030204" pitchFamily="34" charset="0"/>
                      <a:ea typeface="Calibri" panose="020F0502020204030204" pitchFamily="34" charset="0"/>
                      <a:cs typeface="Calibri" panose="020F0502020204030204" pitchFamily="34" charset="0"/>
                    </a:rPr>
                    <a:t>W</a:t>
                  </a:r>
                  <a:endParaRPr lang="zh-CN" altLang="en-US" sz="4000" b="1" dirty="0">
                    <a:solidFill>
                      <a:schemeClr val="accent1"/>
                    </a:solidFill>
                    <a:latin typeface="Calibri" panose="020F0502020204030204" pitchFamily="34" charset="0"/>
                    <a:ea typeface="等线 Light" panose="02010600030101010101" pitchFamily="2" charset="-122"/>
                    <a:cs typeface="Calibri" panose="020F0502020204030204" pitchFamily="34" charset="0"/>
                  </a:endParaRPr>
                </a:p>
              </p:txBody>
            </p:sp>
          </p:grpSp>
        </p:grpSp>
        <p:grpSp>
          <p:nvGrpSpPr>
            <p:cNvPr id="35" name="组合 34">
              <a:extLst>
                <a:ext uri="{FF2B5EF4-FFF2-40B4-BE49-F238E27FC236}">
                  <a16:creationId xmlns:a16="http://schemas.microsoft.com/office/drawing/2014/main" id="{FBE6EF48-2C09-EF66-8086-780E6B343BD8}"/>
                </a:ext>
              </a:extLst>
            </p:cNvPr>
            <p:cNvGrpSpPr/>
            <p:nvPr/>
          </p:nvGrpSpPr>
          <p:grpSpPr>
            <a:xfrm>
              <a:off x="666751" y="3586624"/>
              <a:ext cx="5429248" cy="2444750"/>
              <a:chOff x="666751" y="1447800"/>
              <a:chExt cx="5429248" cy="2444750"/>
            </a:xfrm>
          </p:grpSpPr>
          <p:sp>
            <p:nvSpPr>
              <p:cNvPr id="43" name="直角三角形 42">
                <a:extLst>
                  <a:ext uri="{FF2B5EF4-FFF2-40B4-BE49-F238E27FC236}">
                    <a16:creationId xmlns:a16="http://schemas.microsoft.com/office/drawing/2014/main" id="{3842BF76-FD29-7534-294C-4C641CF4C041}"/>
                  </a:ext>
                </a:extLst>
              </p:cNvPr>
              <p:cNvSpPr/>
              <p:nvPr/>
            </p:nvSpPr>
            <p:spPr>
              <a:xfrm flipH="1" flipV="1">
                <a:off x="3651249" y="1447800"/>
                <a:ext cx="2444750" cy="2444750"/>
              </a:xfrm>
              <a:prstGeom prst="rtTriangle">
                <a:avLst/>
              </a:prstGeom>
              <a:solidFill>
                <a:schemeClr val="tx2">
                  <a:lumMod val="60000"/>
                  <a:lumOff val="40000"/>
                </a:schemeClr>
              </a:solid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dirty="0"/>
              </a:p>
            </p:txBody>
          </p:sp>
          <p:grpSp>
            <p:nvGrpSpPr>
              <p:cNvPr id="44" name="组合 43">
                <a:extLst>
                  <a:ext uri="{FF2B5EF4-FFF2-40B4-BE49-F238E27FC236}">
                    <a16:creationId xmlns:a16="http://schemas.microsoft.com/office/drawing/2014/main" id="{71E26E4A-1E7C-2600-4979-D81FF39A84FB}"/>
                  </a:ext>
                </a:extLst>
              </p:cNvPr>
              <p:cNvGrpSpPr/>
              <p:nvPr/>
            </p:nvGrpSpPr>
            <p:grpSpPr>
              <a:xfrm>
                <a:off x="666751" y="1913083"/>
                <a:ext cx="4790907" cy="1288800"/>
                <a:chOff x="666751" y="1913083"/>
                <a:chExt cx="4790907" cy="1288800"/>
              </a:xfrm>
            </p:grpSpPr>
            <p:sp>
              <p:nvSpPr>
                <p:cNvPr id="45" name="矩形: 圆角 44">
                  <a:extLst>
                    <a:ext uri="{FF2B5EF4-FFF2-40B4-BE49-F238E27FC236}">
                      <a16:creationId xmlns:a16="http://schemas.microsoft.com/office/drawing/2014/main" id="{FB8D3292-1A81-284C-7525-9C80C45A96BA}"/>
                    </a:ext>
                  </a:extLst>
                </p:cNvPr>
                <p:cNvSpPr/>
                <p:nvPr/>
              </p:nvSpPr>
              <p:spPr>
                <a:xfrm flipH="1">
                  <a:off x="666751" y="1913083"/>
                  <a:ext cx="4790907" cy="1288800"/>
                </a:xfrm>
                <a:prstGeom prst="roundRect">
                  <a:avLst>
                    <a:gd name="adj" fmla="val 8000"/>
                  </a:avLst>
                </a:prstGeom>
                <a:solidFill>
                  <a:schemeClr val="tx2">
                    <a:alpha val="15000"/>
                  </a:schemeClr>
                </a:solidFill>
                <a:ln w="6055" cap="flat">
                  <a:noFill/>
                  <a:prstDash val="solid"/>
                  <a:miter/>
                </a:ln>
              </p:spPr>
              <p:txBody>
                <a:bodyPr rtlCol="0" anchor="ctr"/>
                <a:lstStyle/>
                <a:p>
                  <a:endParaRPr lang="zh-CN" altLang="en-US"/>
                </a:p>
              </p:txBody>
            </p:sp>
            <p:sp>
              <p:nvSpPr>
                <p:cNvPr id="46" name="矩形 45">
                  <a:extLst>
                    <a:ext uri="{FF2B5EF4-FFF2-40B4-BE49-F238E27FC236}">
                      <a16:creationId xmlns:a16="http://schemas.microsoft.com/office/drawing/2014/main" id="{186E7646-DEFC-4930-968B-DB06275CC102}"/>
                    </a:ext>
                  </a:extLst>
                </p:cNvPr>
                <p:cNvSpPr/>
                <p:nvPr/>
              </p:nvSpPr>
              <p:spPr>
                <a:xfrm flipH="1">
                  <a:off x="800099" y="2054416"/>
                  <a:ext cx="325213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p>
                  <a:r>
                    <a:rPr lang="en-US" altLang="zh-CN" sz="1600" b="1" dirty="0">
                      <a:solidFill>
                        <a:schemeClr val="tx1"/>
                      </a:solidFill>
                      <a:effectLst/>
                      <a:latin typeface="等线" panose="02010600030101010101" pitchFamily="2" charset="-122"/>
                      <a:ea typeface="等线" panose="02010600030101010101" pitchFamily="2" charset="-122"/>
                    </a:rPr>
                    <a:t>Optimality</a:t>
                  </a:r>
                  <a:endParaRPr lang="en-US" altLang="zh-CN" sz="1600" b="1" dirty="0">
                    <a:solidFill>
                      <a:schemeClr val="tx1"/>
                    </a:solidFill>
                    <a:latin typeface="等线" panose="02010600030101010101" pitchFamily="2" charset="-122"/>
                    <a:ea typeface="等线" panose="02010600030101010101" pitchFamily="2" charset="-122"/>
                  </a:endParaRPr>
                </a:p>
              </p:txBody>
            </p:sp>
            <p:sp>
              <p:nvSpPr>
                <p:cNvPr id="47" name="矩形 46">
                  <a:extLst>
                    <a:ext uri="{FF2B5EF4-FFF2-40B4-BE49-F238E27FC236}">
                      <a16:creationId xmlns:a16="http://schemas.microsoft.com/office/drawing/2014/main" id="{2001752A-2856-4DBC-5517-8FE4B3600CE5}"/>
                    </a:ext>
                  </a:extLst>
                </p:cNvPr>
                <p:cNvSpPr/>
                <p:nvPr/>
              </p:nvSpPr>
              <p:spPr>
                <a:xfrm flipH="1">
                  <a:off x="800099" y="2404544"/>
                  <a:ext cx="3252129" cy="7931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marL="171450" indent="-171450" algn="just">
                    <a:lnSpc>
                      <a:spcPct val="130000"/>
                    </a:lnSpc>
                    <a:buFont typeface="Arial" panose="020B0604020202020204" pitchFamily="34" charset="0"/>
                    <a:buChar char="•"/>
                  </a:pPr>
                  <a:r>
                    <a:rPr kumimoji="1" lang="en-US" altLang="zh-CN" sz="1200" dirty="0">
                      <a:solidFill>
                        <a:schemeClr val="tx1"/>
                      </a:solidFill>
                      <a:latin typeface="Calibri" panose="020F0502020204030204" pitchFamily="34" charset="0"/>
                      <a:ea typeface="Calibri" panose="020F0502020204030204" pitchFamily="34" charset="0"/>
                      <a:cs typeface="Calibri" panose="020F0502020204030204" pitchFamily="34" charset="0"/>
                    </a:rPr>
                    <a:t>Adaptive strategy</a:t>
                  </a:r>
                </a:p>
                <a:p>
                  <a:pPr marL="171450" indent="-171450" algn="just">
                    <a:lnSpc>
                      <a:spcPct val="130000"/>
                    </a:lnSpc>
                    <a:buFont typeface="Arial" panose="020B0604020202020204" pitchFamily="34" charset="0"/>
                    <a:buChar char="•"/>
                  </a:pPr>
                  <a:r>
                    <a:rPr kumimoji="1" lang="en-US" altLang="zh-CN" sz="1200" dirty="0">
                      <a:solidFill>
                        <a:schemeClr val="tx1"/>
                      </a:solidFill>
                      <a:latin typeface="Calibri" panose="020F0502020204030204" pitchFamily="34" charset="0"/>
                      <a:ea typeface="Calibri" panose="020F0502020204030204" pitchFamily="34" charset="0"/>
                      <a:cs typeface="Calibri" panose="020F0502020204030204" pitchFamily="34" charset="0"/>
                    </a:rPr>
                    <a:t>Dynamic decision-making</a:t>
                  </a:r>
                </a:p>
                <a:p>
                  <a:pPr marL="171450" indent="-171450" algn="just">
                    <a:lnSpc>
                      <a:spcPct val="130000"/>
                    </a:lnSpc>
                    <a:buFont typeface="Arial" panose="020B0604020202020204" pitchFamily="34" charset="0"/>
                    <a:buChar char="•"/>
                  </a:pPr>
                  <a:r>
                    <a:rPr kumimoji="1" lang="en-US" altLang="zh-CN" sz="1200" dirty="0">
                      <a:solidFill>
                        <a:schemeClr val="tx1"/>
                      </a:solidFill>
                      <a:latin typeface="Calibri" panose="020F0502020204030204" pitchFamily="34" charset="0"/>
                      <a:ea typeface="Calibri" panose="020F0502020204030204" pitchFamily="34" charset="0"/>
                      <a:cs typeface="Calibri" panose="020F0502020204030204" pitchFamily="34" charset="0"/>
                    </a:rPr>
                    <a:t>Pruning efficiency</a:t>
                  </a:r>
                </a:p>
              </p:txBody>
            </p:sp>
            <p:sp>
              <p:nvSpPr>
                <p:cNvPr id="48" name="矩形: 对角圆角 47">
                  <a:extLst>
                    <a:ext uri="{FF2B5EF4-FFF2-40B4-BE49-F238E27FC236}">
                      <a16:creationId xmlns:a16="http://schemas.microsoft.com/office/drawing/2014/main" id="{D4626088-C9D8-FECC-B4DC-4354E02BC819}"/>
                    </a:ext>
                  </a:extLst>
                </p:cNvPr>
                <p:cNvSpPr/>
                <p:nvPr/>
              </p:nvSpPr>
              <p:spPr>
                <a:xfrm flipH="1">
                  <a:off x="4168857" y="1913083"/>
                  <a:ext cx="1288800" cy="1288800"/>
                </a:xfrm>
                <a:prstGeom prst="round2DiagRect">
                  <a:avLst/>
                </a:prstGeom>
                <a:solidFill>
                  <a:srgbClr val="FFFFFF"/>
                </a:solidFill>
                <a:ln w="254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4000" b="1" dirty="0">
                      <a:solidFill>
                        <a:schemeClr val="accent1"/>
                      </a:solidFill>
                      <a:latin typeface="Calibri" panose="020F0502020204030204" pitchFamily="34" charset="0"/>
                      <a:ea typeface="Calibri" panose="020F0502020204030204" pitchFamily="34" charset="0"/>
                      <a:cs typeface="Calibri" panose="020F0502020204030204" pitchFamily="34" charset="0"/>
                    </a:rPr>
                    <a:t>O</a:t>
                  </a:r>
                  <a:endParaRPr lang="zh-CN" altLang="en-US" sz="4000" b="1" dirty="0">
                    <a:solidFill>
                      <a:schemeClr val="accent1"/>
                    </a:solidFill>
                    <a:latin typeface="Calibri" panose="020F0502020204030204" pitchFamily="34" charset="0"/>
                    <a:ea typeface="等线 Light" panose="02010600030101010101" pitchFamily="2" charset="-122"/>
                    <a:cs typeface="Calibri" panose="020F0502020204030204" pitchFamily="34" charset="0"/>
                  </a:endParaRPr>
                </a:p>
              </p:txBody>
            </p:sp>
          </p:grpSp>
        </p:grpSp>
        <p:grpSp>
          <p:nvGrpSpPr>
            <p:cNvPr id="36" name="组合 35">
              <a:extLst>
                <a:ext uri="{FF2B5EF4-FFF2-40B4-BE49-F238E27FC236}">
                  <a16:creationId xmlns:a16="http://schemas.microsoft.com/office/drawing/2014/main" id="{06BA3685-C854-2104-F5F2-DDE32EA4D665}"/>
                </a:ext>
              </a:extLst>
            </p:cNvPr>
            <p:cNvGrpSpPr/>
            <p:nvPr/>
          </p:nvGrpSpPr>
          <p:grpSpPr>
            <a:xfrm flipH="1">
              <a:off x="6089652" y="3586624"/>
              <a:ext cx="5604365" cy="2444750"/>
              <a:chOff x="491634" y="1447800"/>
              <a:chExt cx="5604365" cy="2444750"/>
            </a:xfrm>
          </p:grpSpPr>
          <p:sp>
            <p:nvSpPr>
              <p:cNvPr id="37" name="直角三角形 36">
                <a:extLst>
                  <a:ext uri="{FF2B5EF4-FFF2-40B4-BE49-F238E27FC236}">
                    <a16:creationId xmlns:a16="http://schemas.microsoft.com/office/drawing/2014/main" id="{C16780BF-AA8C-A74B-9FB7-347208F65292}"/>
                  </a:ext>
                </a:extLst>
              </p:cNvPr>
              <p:cNvSpPr/>
              <p:nvPr/>
            </p:nvSpPr>
            <p:spPr>
              <a:xfrm flipH="1" flipV="1">
                <a:off x="3651249" y="1447800"/>
                <a:ext cx="2444750" cy="2444750"/>
              </a:xfrm>
              <a:prstGeom prst="rtTriangle">
                <a:avLst/>
              </a:prstGeom>
              <a:solidFill>
                <a:schemeClr val="accent1">
                  <a:alpha val="50000"/>
                </a:schemeClr>
              </a:solid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grpSp>
            <p:nvGrpSpPr>
              <p:cNvPr id="38" name="组合 37">
                <a:extLst>
                  <a:ext uri="{FF2B5EF4-FFF2-40B4-BE49-F238E27FC236}">
                    <a16:creationId xmlns:a16="http://schemas.microsoft.com/office/drawing/2014/main" id="{7218B3DD-BDBB-73F2-3F79-E4D7BBF30ACA}"/>
                  </a:ext>
                </a:extLst>
              </p:cNvPr>
              <p:cNvGrpSpPr/>
              <p:nvPr/>
            </p:nvGrpSpPr>
            <p:grpSpPr>
              <a:xfrm>
                <a:off x="491634" y="1913083"/>
                <a:ext cx="4966024" cy="1288800"/>
                <a:chOff x="491634" y="1913083"/>
                <a:chExt cx="4966024" cy="1288800"/>
              </a:xfrm>
            </p:grpSpPr>
            <p:sp>
              <p:nvSpPr>
                <p:cNvPr id="39" name="矩形: 圆角 38">
                  <a:extLst>
                    <a:ext uri="{FF2B5EF4-FFF2-40B4-BE49-F238E27FC236}">
                      <a16:creationId xmlns:a16="http://schemas.microsoft.com/office/drawing/2014/main" id="{8ADE4D5B-2E9A-D7F5-D5E3-BACD686ECDC2}"/>
                    </a:ext>
                  </a:extLst>
                </p:cNvPr>
                <p:cNvSpPr/>
                <p:nvPr/>
              </p:nvSpPr>
              <p:spPr>
                <a:xfrm flipH="1">
                  <a:off x="666751" y="1913083"/>
                  <a:ext cx="4790907" cy="1288800"/>
                </a:xfrm>
                <a:prstGeom prst="roundRect">
                  <a:avLst>
                    <a:gd name="adj" fmla="val 8000"/>
                  </a:avLst>
                </a:prstGeom>
                <a:solidFill>
                  <a:schemeClr val="tx2">
                    <a:alpha val="15000"/>
                  </a:schemeClr>
                </a:solidFill>
                <a:ln w="6055" cap="flat">
                  <a:noFill/>
                  <a:prstDash val="solid"/>
                  <a:miter/>
                </a:ln>
              </p:spPr>
              <p:txBody>
                <a:bodyPr rtlCol="0" anchor="ctr"/>
                <a:lstStyle/>
                <a:p>
                  <a:endParaRPr lang="zh-CN" altLang="en-US"/>
                </a:p>
              </p:txBody>
            </p:sp>
            <p:sp>
              <p:nvSpPr>
                <p:cNvPr id="40" name="矩形 39">
                  <a:extLst>
                    <a:ext uri="{FF2B5EF4-FFF2-40B4-BE49-F238E27FC236}">
                      <a16:creationId xmlns:a16="http://schemas.microsoft.com/office/drawing/2014/main" id="{ED314B3C-0EB5-AC51-F0A2-B6B0DBC85379}"/>
                    </a:ext>
                  </a:extLst>
                </p:cNvPr>
                <p:cNvSpPr/>
                <p:nvPr/>
              </p:nvSpPr>
              <p:spPr>
                <a:xfrm flipH="1">
                  <a:off x="800099" y="2054416"/>
                  <a:ext cx="325213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p>
                  <a:r>
                    <a:rPr lang="en-US" altLang="zh-CN" sz="1600" b="1" dirty="0">
                      <a:solidFill>
                        <a:schemeClr val="tx1"/>
                      </a:solidFill>
                      <a:effectLst/>
                      <a:latin typeface="等线" panose="02010600030101010101" pitchFamily="2" charset="-122"/>
                      <a:ea typeface="等线" panose="02010600030101010101" pitchFamily="2" charset="-122"/>
                    </a:rPr>
                    <a:t>Correctness</a:t>
                  </a:r>
                  <a:endParaRPr lang="en-US" altLang="zh-CN" sz="1600" b="1" dirty="0">
                    <a:solidFill>
                      <a:schemeClr val="tx1"/>
                    </a:solidFill>
                    <a:latin typeface="等线" panose="02010600030101010101" pitchFamily="2" charset="-122"/>
                    <a:ea typeface="等线" panose="02010600030101010101" pitchFamily="2" charset="-122"/>
                  </a:endParaRPr>
                </a:p>
              </p:txBody>
            </p:sp>
            <p:sp>
              <p:nvSpPr>
                <p:cNvPr id="41" name="矩形 40">
                  <a:extLst>
                    <a:ext uri="{FF2B5EF4-FFF2-40B4-BE49-F238E27FC236}">
                      <a16:creationId xmlns:a16="http://schemas.microsoft.com/office/drawing/2014/main" id="{434B24A1-A408-4E3D-18FD-290D409389E5}"/>
                    </a:ext>
                  </a:extLst>
                </p:cNvPr>
                <p:cNvSpPr/>
                <p:nvPr/>
              </p:nvSpPr>
              <p:spPr>
                <a:xfrm flipH="1">
                  <a:off x="491634" y="2353032"/>
                  <a:ext cx="3560594" cy="553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marL="171450" indent="-171450">
                    <a:lnSpc>
                      <a:spcPct val="130000"/>
                    </a:lnSpc>
                    <a:buFont typeface="Arial" panose="020B0604020202020204" pitchFamily="34" charset="0"/>
                    <a:buChar char="•"/>
                  </a:pPr>
                  <a:r>
                    <a:rPr kumimoji="1" lang="en-US" altLang="zh-CN" sz="1200" dirty="0">
                      <a:solidFill>
                        <a:schemeClr val="tx1"/>
                      </a:solidFill>
                      <a:latin typeface="Calibri" panose="020F0502020204030204" pitchFamily="34" charset="0"/>
                      <a:ea typeface="Calibri" panose="020F0502020204030204" pitchFamily="34" charset="0"/>
                      <a:cs typeface="Calibri" panose="020F0502020204030204" pitchFamily="34" charset="0"/>
                    </a:rPr>
                    <a:t>BFS identifies shortest path to certain sites</a:t>
                  </a:r>
                </a:p>
                <a:p>
                  <a:pPr marL="171450" indent="-171450">
                    <a:lnSpc>
                      <a:spcPct val="130000"/>
                    </a:lnSpc>
                    <a:buFont typeface="Arial" panose="020B0604020202020204" pitchFamily="34" charset="0"/>
                    <a:buChar char="•"/>
                  </a:pPr>
                  <a:r>
                    <a:rPr kumimoji="1" lang="en-US" altLang="zh-CN" sz="1200" dirty="0">
                      <a:solidFill>
                        <a:schemeClr val="tx1"/>
                      </a:solidFill>
                      <a:latin typeface="Calibri" panose="020F0502020204030204" pitchFamily="34" charset="0"/>
                      <a:ea typeface="Calibri" panose="020F0502020204030204" pitchFamily="34" charset="0"/>
                      <a:cs typeface="Calibri" panose="020F0502020204030204" pitchFamily="34" charset="0"/>
                    </a:rPr>
                    <a:t>DFS provides the cycle detection</a:t>
                  </a:r>
                </a:p>
              </p:txBody>
            </p:sp>
            <p:sp>
              <p:nvSpPr>
                <p:cNvPr id="42" name="矩形: 对角圆角 41">
                  <a:extLst>
                    <a:ext uri="{FF2B5EF4-FFF2-40B4-BE49-F238E27FC236}">
                      <a16:creationId xmlns:a16="http://schemas.microsoft.com/office/drawing/2014/main" id="{E39366C5-27CD-7043-10A9-015FE96F631F}"/>
                    </a:ext>
                  </a:extLst>
                </p:cNvPr>
                <p:cNvSpPr/>
                <p:nvPr/>
              </p:nvSpPr>
              <p:spPr>
                <a:xfrm flipH="1">
                  <a:off x="4168857" y="1913083"/>
                  <a:ext cx="1288800" cy="1288800"/>
                </a:xfrm>
                <a:prstGeom prst="round2DiagRect">
                  <a:avLst/>
                </a:prstGeom>
                <a:solidFill>
                  <a:srgbClr val="FFFFFF"/>
                </a:solidFill>
                <a:ln w="254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4000" b="1" dirty="0">
                      <a:solidFill>
                        <a:schemeClr val="accent1"/>
                      </a:solidFill>
                      <a:latin typeface="Calibri" panose="020F0502020204030204" pitchFamily="34" charset="0"/>
                      <a:ea typeface="Calibri" panose="020F0502020204030204" pitchFamily="34" charset="0"/>
                      <a:cs typeface="Calibri" panose="020F0502020204030204" pitchFamily="34" charset="0"/>
                    </a:rPr>
                    <a:t>C</a:t>
                  </a:r>
                  <a:endParaRPr lang="zh-CN" altLang="en-US" sz="4000" b="1" dirty="0">
                    <a:solidFill>
                      <a:schemeClr val="accent1"/>
                    </a:solidFill>
                    <a:latin typeface="Calibri" panose="020F0502020204030204" pitchFamily="34" charset="0"/>
                    <a:ea typeface="等线 Light" panose="02010600030101010101" pitchFamily="2" charset="-122"/>
                    <a:cs typeface="Calibri" panose="020F0502020204030204" pitchFamily="34" charset="0"/>
                  </a:endParaRPr>
                </a:p>
              </p:txBody>
            </p:sp>
          </p:grpSp>
        </p:grpSp>
      </p:grpSp>
      <p:sp>
        <p:nvSpPr>
          <p:cNvPr id="61" name="文本框 60">
            <a:extLst>
              <a:ext uri="{FF2B5EF4-FFF2-40B4-BE49-F238E27FC236}">
                <a16:creationId xmlns:a16="http://schemas.microsoft.com/office/drawing/2014/main" id="{6ABEB189-2F5A-6D65-831D-946AEC705006}"/>
              </a:ext>
            </a:extLst>
          </p:cNvPr>
          <p:cNvSpPr txBox="1"/>
          <p:nvPr/>
        </p:nvSpPr>
        <p:spPr>
          <a:xfrm>
            <a:off x="903130" y="498787"/>
            <a:ext cx="3458845" cy="461645"/>
          </a:xfrm>
          <a:prstGeom prst="rect">
            <a:avLst/>
          </a:prstGeom>
          <a:noFill/>
          <a:ln w="0">
            <a:noFill/>
          </a:ln>
        </p:spPr>
        <p:txBody>
          <a:bodyPr vert="horz" wrap="square" lIns="89535" tIns="46355" rIns="89535" bIns="46355" numCol="1" anchor="t">
            <a:spAutoFit/>
          </a:bodyPr>
          <a:lstStyle/>
          <a:p>
            <a:pPr marL="0" marR="0" lvl="0" indent="0" algn="l" defTabSz="508000" rtl="0" eaLnBrk="0" fontAlgn="auto" latinLnBrk="0" hangingPunct="1">
              <a:lnSpc>
                <a:spcPct val="100000"/>
              </a:lnSpc>
              <a:spcBef>
                <a:spcPts val="0"/>
              </a:spcBef>
              <a:spcAft>
                <a:spcPts val="0"/>
              </a:spcAft>
              <a:buClrTx/>
              <a:buSzTx/>
              <a:buFontTx/>
              <a:buNone/>
              <a:tabLst/>
              <a:defRPr/>
            </a:pPr>
            <a:r>
              <a:rPr lang="en-US" altLang="zh-CN" sz="2400" b="1" dirty="0">
                <a:solidFill>
                  <a:srgbClr val="000000"/>
                </a:solidFill>
                <a:latin typeface="Calibri" panose="020F0502020204030204" pitchFamily="34" charset="0"/>
                <a:ea typeface="Calibri" panose="020F0502020204030204" pitchFamily="34" charset="0"/>
                <a:cs typeface="Calibri" panose="020F0502020204030204" pitchFamily="34" charset="0"/>
                <a:sym typeface="YRDZST"/>
              </a:rPr>
              <a:t>Rogue</a:t>
            </a:r>
            <a:r>
              <a:rPr kumimoji="0" lang="en-US" altLang="zh-CN" sz="24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YRDZST"/>
              </a:rPr>
              <a:t> Algorithm</a:t>
            </a:r>
            <a:endParaRPr kumimoji="0" lang="ko-KR" altLang="en-US" sz="2400" b="1" i="0" u="none" strike="noStrike" kern="1200" cap="none" spc="0" normalizeH="0" baseline="0" noProof="0" dirty="0">
              <a:ln>
                <a:noFill/>
              </a:ln>
              <a:solidFill>
                <a:srgbClr val="F0F0F0">
                  <a:lumMod val="25000"/>
                </a:srgbClr>
              </a:solidFill>
              <a:effectLst/>
              <a:uLnTx/>
              <a:uFillTx/>
              <a:latin typeface="Calibri" panose="020F0502020204030204" pitchFamily="34" charset="0"/>
              <a:ea typeface="微软雅黑" panose="020B0503020204020204" charset="-122"/>
              <a:cs typeface="Calibri" panose="020F0502020204030204" pitchFamily="34" charset="0"/>
              <a:sym typeface="YRDZST"/>
            </a:endParaRPr>
          </a:p>
        </p:txBody>
      </p:sp>
    </p:spTree>
    <p:custDataLst>
      <p:tags r:id="rId1"/>
    </p:custDataLst>
    <p:extLst>
      <p:ext uri="{BB962C8B-B14F-4D97-AF65-F5344CB8AC3E}">
        <p14:creationId xmlns:p14="http://schemas.microsoft.com/office/powerpoint/2010/main" val="2015950423"/>
      </p:ext>
    </p:extLst>
  </p:cSld>
  <p:clrMapOvr>
    <a:masterClrMapping/>
  </p:clrMapOvr>
  <mc:AlternateContent xmlns:mc="http://schemas.openxmlformats.org/markup-compatibility/2006" xmlns:p14="http://schemas.microsoft.com/office/powerpoint/2010/main">
    <mc:Choice Requires="p14">
      <p:transition spd="slow" p14:dur="1500" advClick="0" advTm="1000">
        <p:random/>
      </p:transition>
    </mc:Choice>
    <mc:Fallback xmlns="">
      <p:transition spd="slow" advClick="0" advTm="1000">
        <p:random/>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圆角 33">
            <a:extLst>
              <a:ext uri="{FF2B5EF4-FFF2-40B4-BE49-F238E27FC236}">
                <a16:creationId xmlns:a16="http://schemas.microsoft.com/office/drawing/2014/main" id="{461E89D7-9C5C-51F4-25DE-7A0A9CF5002E}"/>
              </a:ext>
            </a:extLst>
          </p:cNvPr>
          <p:cNvSpPr/>
          <p:nvPr/>
        </p:nvSpPr>
        <p:spPr>
          <a:xfrm>
            <a:off x="618353" y="1244728"/>
            <a:ext cx="4866562" cy="3732957"/>
          </a:xfrm>
          <a:prstGeom prst="roundRect">
            <a:avLst>
              <a:gd name="adj" fmla="val 5089"/>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35" name="矩形: 圆角 34">
            <a:extLst>
              <a:ext uri="{FF2B5EF4-FFF2-40B4-BE49-F238E27FC236}">
                <a16:creationId xmlns:a16="http://schemas.microsoft.com/office/drawing/2014/main" id="{340AED06-C5BF-91DF-4DB6-CFF080A70546}"/>
              </a:ext>
            </a:extLst>
          </p:cNvPr>
          <p:cNvSpPr/>
          <p:nvPr/>
        </p:nvSpPr>
        <p:spPr>
          <a:xfrm>
            <a:off x="365301" y="5092116"/>
            <a:ext cx="10999051" cy="1707999"/>
          </a:xfrm>
          <a:prstGeom prst="roundRect">
            <a:avLst>
              <a:gd name="adj" fmla="val 5089"/>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just">
              <a:spcBef>
                <a:spcPts val="0"/>
              </a:spcBef>
              <a:spcAft>
                <a:spcPts val="0"/>
              </a:spcAft>
            </a:pPr>
            <a:r>
              <a:rPr lang="en-US" altLang="zh-CN" sz="1800" b="1" kern="100">
                <a:effectLst/>
                <a:latin typeface="Calibri" panose="020F0502020204030204" pitchFamily="34" charset="0"/>
                <a:ea typeface="等线" panose="02010600030101010101" pitchFamily="2" charset="-122"/>
                <a:cs typeface="Calibri" panose="020F0502020204030204" pitchFamily="34" charset="0"/>
              </a:rPr>
              <a:t>Monster Location Near the Cycle Entrance </a:t>
            </a:r>
            <a:r>
              <a:rPr lang="en-US" altLang="zh-CN" sz="1800" b="1" kern="100">
                <a:effectLst/>
                <a:latin typeface="Calibri" panose="020F0502020204030204" pitchFamily="34" charset="0"/>
                <a:ea typeface="等线" panose="02010600030101010101" pitchFamily="2" charset="-122"/>
                <a:cs typeface="Times New Roman" panose="02020603050405020304" pitchFamily="18" charset="0"/>
              </a:rPr>
              <a:t>–</a:t>
            </a:r>
            <a:r>
              <a:rPr lang="en-US" altLang="zh-CN" sz="1800" b="1" kern="100">
                <a:effectLst/>
                <a:latin typeface="等线" panose="02010600030101010101" pitchFamily="2" charset="-122"/>
                <a:ea typeface="等线" panose="02010600030101010101" pitchFamily="2" charset="-122"/>
                <a:cs typeface="Calibri" panose="020F0502020204030204" pitchFamily="34" charset="0"/>
              </a:rPr>
              <a:t> </a:t>
            </a:r>
            <a:r>
              <a:rPr lang="en-US" altLang="zh-CN" sz="1800" b="1" kern="100">
                <a:effectLst/>
                <a:latin typeface="Calibri" panose="020F0502020204030204" pitchFamily="34" charset="0"/>
                <a:ea typeface="等线" panose="02010600030101010101" pitchFamily="2" charset="-122"/>
                <a:cs typeface="Calibri" panose="020F0502020204030204" pitchFamily="34" charset="0"/>
              </a:rPr>
              <a:t>Dungeon L</a:t>
            </a:r>
            <a:endParaRPr lang="en-US" altLang="zh-CN" sz="1800" kern="100">
              <a:effectLst/>
              <a:latin typeface="等线" panose="02010600030101010101" pitchFamily="2" charset="-122"/>
              <a:ea typeface="等线" panose="02010600030101010101" pitchFamily="2" charset="-122"/>
              <a:cs typeface="Times New Roman" panose="02020603050405020304" pitchFamily="18" charset="0"/>
            </a:endParaRPr>
          </a:p>
        </p:txBody>
      </p:sp>
      <p:grpSp>
        <p:nvGrpSpPr>
          <p:cNvPr id="22" name="组合 21">
            <a:extLst>
              <a:ext uri="{FF2B5EF4-FFF2-40B4-BE49-F238E27FC236}">
                <a16:creationId xmlns:a16="http://schemas.microsoft.com/office/drawing/2014/main" id="{547A338E-64EC-59A8-A34D-4889D6811B0D}"/>
              </a:ext>
            </a:extLst>
          </p:cNvPr>
          <p:cNvGrpSpPr/>
          <p:nvPr/>
        </p:nvGrpSpPr>
        <p:grpSpPr>
          <a:xfrm>
            <a:off x="733205" y="1228748"/>
            <a:ext cx="10631148" cy="3776071"/>
            <a:chOff x="944890" y="1607463"/>
            <a:chExt cx="10778386" cy="3776071"/>
          </a:xfrm>
        </p:grpSpPr>
        <p:sp>
          <p:nvSpPr>
            <p:cNvPr id="2" name="矩形: 圆角 1">
              <a:extLst>
                <a:ext uri="{FF2B5EF4-FFF2-40B4-BE49-F238E27FC236}">
                  <a16:creationId xmlns:a16="http://schemas.microsoft.com/office/drawing/2014/main" id="{FB7E3280-A4EA-1C5D-3679-6DC3531BAC3F}"/>
                </a:ext>
              </a:extLst>
            </p:cNvPr>
            <p:cNvSpPr/>
            <p:nvPr/>
          </p:nvSpPr>
          <p:spPr>
            <a:xfrm>
              <a:off x="6789314" y="1607463"/>
              <a:ext cx="4933962" cy="3776071"/>
            </a:xfrm>
            <a:prstGeom prst="roundRect">
              <a:avLst>
                <a:gd name="adj" fmla="val 5089"/>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0" name="矩形 9">
              <a:extLst>
                <a:ext uri="{FF2B5EF4-FFF2-40B4-BE49-F238E27FC236}">
                  <a16:creationId xmlns:a16="http://schemas.microsoft.com/office/drawing/2014/main" id="{31EB2A15-36FC-5B74-47EB-A1CDCEDD8DA9}"/>
                </a:ext>
              </a:extLst>
            </p:cNvPr>
            <p:cNvSpPr>
              <a:spLocks/>
            </p:cNvSpPr>
            <p:nvPr/>
          </p:nvSpPr>
          <p:spPr>
            <a:xfrm>
              <a:off x="944890" y="4809821"/>
              <a:ext cx="2058852"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gn="ctr"/>
              <a:r>
                <a:rPr kumimoji="1" lang="en-US" altLang="zh-CN" sz="1400" b="1" dirty="0">
                  <a:solidFill>
                    <a:schemeClr val="tx1"/>
                  </a:solidFill>
                  <a:latin typeface="Calibri" panose="020F0502020204030204" pitchFamily="34" charset="0"/>
                  <a:ea typeface="Calibri" panose="020F0502020204030204" pitchFamily="34" charset="0"/>
                  <a:cs typeface="Calibri" panose="020F0502020204030204" pitchFamily="34" charset="0"/>
                  <a:sym typeface="Arial" panose="020B0604020202020204" pitchFamily="34" charset="0"/>
                </a:rPr>
                <a:t>Dungeon Test 1</a:t>
              </a:r>
            </a:p>
          </p:txBody>
        </p:sp>
      </p:grpSp>
      <p:sp>
        <p:nvSpPr>
          <p:cNvPr id="7" name="文本框 6">
            <a:extLst>
              <a:ext uri="{FF2B5EF4-FFF2-40B4-BE49-F238E27FC236}">
                <a16:creationId xmlns:a16="http://schemas.microsoft.com/office/drawing/2014/main" id="{90B41F5F-7B16-9E85-3279-FB8269E9571C}"/>
              </a:ext>
            </a:extLst>
          </p:cNvPr>
          <p:cNvSpPr txBox="1"/>
          <p:nvPr/>
        </p:nvSpPr>
        <p:spPr>
          <a:xfrm>
            <a:off x="3609936" y="441946"/>
            <a:ext cx="5541978" cy="709168"/>
          </a:xfrm>
          <a:prstGeom prst="rect">
            <a:avLst/>
          </a:prstGeom>
          <a:noFill/>
          <a:ln w="0">
            <a:noFill/>
          </a:ln>
        </p:spPr>
        <p:txBody>
          <a:bodyPr vert="horz" wrap="square" lIns="89535" tIns="46355" rIns="89535" bIns="46355" numCol="1" anchor="t">
            <a:spAutoFit/>
          </a:bodyPr>
          <a:lstStyle/>
          <a:p>
            <a:pPr marL="0" marR="0" lvl="0" indent="0" algn="l" defTabSz="508000" rtl="0" eaLnBrk="0" fontAlgn="auto" latinLnBrk="0" hangingPunct="1">
              <a:lnSpc>
                <a:spcPct val="100000"/>
              </a:lnSpc>
              <a:spcBef>
                <a:spcPts val="0"/>
              </a:spcBef>
              <a:spcAft>
                <a:spcPts val="0"/>
              </a:spcAft>
              <a:buClrTx/>
              <a:buSzTx/>
              <a:buFontTx/>
              <a:buNone/>
              <a:tabLst/>
              <a:defRPr/>
            </a:pPr>
            <a:r>
              <a:rPr kumimoji="0" lang="en-US" altLang="zh-CN" sz="40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YRDZST"/>
              </a:rPr>
              <a:t>Dungeon Test Results</a:t>
            </a:r>
            <a:endParaRPr kumimoji="0" lang="ko-KR" altLang="en-US" sz="4000" b="1" i="0" u="none" strike="noStrike" kern="1200" cap="none" spc="0" normalizeH="0" baseline="0" noProof="0" dirty="0">
              <a:ln>
                <a:noFill/>
              </a:ln>
              <a:solidFill>
                <a:srgbClr val="F0F0F0">
                  <a:lumMod val="25000"/>
                </a:srgbClr>
              </a:solidFill>
              <a:effectLst/>
              <a:uLnTx/>
              <a:uFillTx/>
              <a:latin typeface="Calibri" panose="020F0502020204030204" pitchFamily="34" charset="0"/>
              <a:ea typeface="微软雅黑" panose="020B0503020204020204" charset="-122"/>
              <a:cs typeface="Calibri" panose="020F0502020204030204" pitchFamily="34" charset="0"/>
              <a:sym typeface="YRDZST"/>
            </a:endParaRPr>
          </a:p>
        </p:txBody>
      </p:sp>
      <p:sp>
        <p:nvSpPr>
          <p:cNvPr id="23" name="文本框 22">
            <a:extLst>
              <a:ext uri="{FF2B5EF4-FFF2-40B4-BE49-F238E27FC236}">
                <a16:creationId xmlns:a16="http://schemas.microsoft.com/office/drawing/2014/main" id="{B06A9BBE-EE75-E022-83E3-E3A978D38647}"/>
              </a:ext>
            </a:extLst>
          </p:cNvPr>
          <p:cNvSpPr txBox="1"/>
          <p:nvPr/>
        </p:nvSpPr>
        <p:spPr>
          <a:xfrm>
            <a:off x="1729216" y="1346109"/>
            <a:ext cx="2585172" cy="584775"/>
          </a:xfrm>
          <a:prstGeom prst="rect">
            <a:avLst/>
          </a:prstGeom>
          <a:noFill/>
        </p:spPr>
        <p:txBody>
          <a:bodyPr wrap="square">
            <a:spAutoFit/>
          </a:bodyPr>
          <a:lstStyle/>
          <a:p>
            <a:pPr marL="0" marR="0" algn="ctr">
              <a:spcBef>
                <a:spcPts val="0"/>
              </a:spcBef>
              <a:spcAft>
                <a:spcPts val="0"/>
              </a:spcAft>
            </a:pPr>
            <a:r>
              <a:rPr lang="en-US" altLang="zh-CN" sz="1600" b="1" kern="100" dirty="0">
                <a:effectLst/>
                <a:latin typeface="Calibri" panose="020F0502020204030204" pitchFamily="34" charset="0"/>
                <a:ea typeface="等线" panose="02010600030101010101" pitchFamily="2" charset="-122"/>
                <a:cs typeface="Calibri" panose="020F0502020204030204" pitchFamily="34" charset="0"/>
              </a:rPr>
              <a:t>Immediate Access to Cycles </a:t>
            </a:r>
          </a:p>
          <a:p>
            <a:pPr marL="0" marR="0" algn="ctr">
              <a:spcBef>
                <a:spcPts val="0"/>
              </a:spcBef>
              <a:spcAft>
                <a:spcPts val="0"/>
              </a:spcAft>
            </a:pPr>
            <a:r>
              <a:rPr lang="en-US" altLang="zh-CN" sz="1600" b="1" kern="100" dirty="0">
                <a:effectLst/>
                <a:latin typeface="Calibri" panose="020F0502020204030204" pitchFamily="34" charset="0"/>
                <a:ea typeface="等线" panose="02010600030101010101" pitchFamily="2" charset="-122"/>
                <a:cs typeface="Times New Roman" panose="02020603050405020304" pitchFamily="18" charset="0"/>
              </a:rPr>
              <a:t>–</a:t>
            </a:r>
            <a:r>
              <a:rPr lang="en-US" altLang="zh-CN" sz="1600" b="1" kern="100" dirty="0">
                <a:effectLst/>
                <a:latin typeface="等线" panose="02010600030101010101" pitchFamily="2" charset="-122"/>
                <a:ea typeface="等线" panose="02010600030101010101" pitchFamily="2" charset="-122"/>
                <a:cs typeface="Calibri" panose="020F0502020204030204" pitchFamily="34" charset="0"/>
              </a:rPr>
              <a:t> </a:t>
            </a:r>
            <a:r>
              <a:rPr lang="en-US" altLang="zh-CN" sz="1600" b="1" kern="100" dirty="0">
                <a:effectLst/>
                <a:latin typeface="Calibri" panose="020F0502020204030204" pitchFamily="34" charset="0"/>
                <a:ea typeface="等线" panose="02010600030101010101" pitchFamily="2" charset="-122"/>
                <a:cs typeface="Calibri" panose="020F0502020204030204" pitchFamily="34" charset="0"/>
              </a:rPr>
              <a:t>Dungeon Test 1, J</a:t>
            </a:r>
            <a:endParaRPr lang="en-US" altLang="zh-CN" sz="1200" kern="100" dirty="0">
              <a:effectLst/>
              <a:latin typeface="等线" panose="02010600030101010101" pitchFamily="2" charset="-122"/>
              <a:ea typeface="等线" panose="02010600030101010101" pitchFamily="2" charset="-122"/>
              <a:cs typeface="Times New Roman" panose="02020603050405020304" pitchFamily="18" charset="0"/>
            </a:endParaRPr>
          </a:p>
        </p:txBody>
      </p:sp>
      <p:pic>
        <p:nvPicPr>
          <p:cNvPr id="24" name="图片 23">
            <a:extLst>
              <a:ext uri="{FF2B5EF4-FFF2-40B4-BE49-F238E27FC236}">
                <a16:creationId xmlns:a16="http://schemas.microsoft.com/office/drawing/2014/main" id="{3384850E-EC5A-E7AC-B8DF-CD1E77DCA0F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9572" y="1998012"/>
            <a:ext cx="1737995" cy="2318385"/>
          </a:xfrm>
          <a:prstGeom prst="rect">
            <a:avLst/>
          </a:prstGeom>
        </p:spPr>
      </p:pic>
      <p:pic>
        <p:nvPicPr>
          <p:cNvPr id="25" name="图片 24">
            <a:extLst>
              <a:ext uri="{FF2B5EF4-FFF2-40B4-BE49-F238E27FC236}">
                <a16:creationId xmlns:a16="http://schemas.microsoft.com/office/drawing/2014/main" id="{75FC898B-2283-D81F-66A0-72334EAFB00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70414" y="1991573"/>
            <a:ext cx="1736725" cy="2316480"/>
          </a:xfrm>
          <a:prstGeom prst="rect">
            <a:avLst/>
          </a:prstGeom>
        </p:spPr>
      </p:pic>
      <p:sp>
        <p:nvSpPr>
          <p:cNvPr id="26" name="矩形 25">
            <a:extLst>
              <a:ext uri="{FF2B5EF4-FFF2-40B4-BE49-F238E27FC236}">
                <a16:creationId xmlns:a16="http://schemas.microsoft.com/office/drawing/2014/main" id="{A85FD615-0E86-04E5-A3A6-1F8F349A5798}"/>
              </a:ext>
            </a:extLst>
          </p:cNvPr>
          <p:cNvSpPr>
            <a:spLocks/>
          </p:cNvSpPr>
          <p:nvPr/>
        </p:nvSpPr>
        <p:spPr>
          <a:xfrm>
            <a:off x="3309350" y="4442308"/>
            <a:ext cx="2058852"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gn="ctr"/>
            <a:r>
              <a:rPr kumimoji="1" lang="en-US" altLang="zh-CN" sz="1400" b="1" dirty="0">
                <a:solidFill>
                  <a:schemeClr val="tx1"/>
                </a:solidFill>
                <a:latin typeface="Calibri" panose="020F0502020204030204" pitchFamily="34" charset="0"/>
                <a:ea typeface="Calibri" panose="020F0502020204030204" pitchFamily="34" charset="0"/>
                <a:cs typeface="Calibri" panose="020F0502020204030204" pitchFamily="34" charset="0"/>
                <a:sym typeface="Arial" panose="020B0604020202020204" pitchFamily="34" charset="0"/>
              </a:rPr>
              <a:t>Dungeon J</a:t>
            </a:r>
          </a:p>
        </p:txBody>
      </p:sp>
      <p:pic>
        <p:nvPicPr>
          <p:cNvPr id="27" name="图片 26">
            <a:extLst>
              <a:ext uri="{FF2B5EF4-FFF2-40B4-BE49-F238E27FC236}">
                <a16:creationId xmlns:a16="http://schemas.microsoft.com/office/drawing/2014/main" id="{2B57BA4C-C7DB-CCE6-6396-59054646209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700707" y="1977590"/>
            <a:ext cx="1823085" cy="2430780"/>
          </a:xfrm>
          <a:prstGeom prst="rect">
            <a:avLst/>
          </a:prstGeom>
        </p:spPr>
      </p:pic>
      <p:pic>
        <p:nvPicPr>
          <p:cNvPr id="28" name="图片 27">
            <a:extLst>
              <a:ext uri="{FF2B5EF4-FFF2-40B4-BE49-F238E27FC236}">
                <a16:creationId xmlns:a16="http://schemas.microsoft.com/office/drawing/2014/main" id="{1E016A28-5FB0-5927-C7AD-68EE287DF6D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186884" y="1987249"/>
            <a:ext cx="1828800" cy="2438400"/>
          </a:xfrm>
          <a:prstGeom prst="rect">
            <a:avLst/>
          </a:prstGeom>
        </p:spPr>
      </p:pic>
      <p:pic>
        <p:nvPicPr>
          <p:cNvPr id="29" name="图片 28">
            <a:extLst>
              <a:ext uri="{FF2B5EF4-FFF2-40B4-BE49-F238E27FC236}">
                <a16:creationId xmlns:a16="http://schemas.microsoft.com/office/drawing/2014/main" id="{F76D2A7D-B7E2-C4DB-B217-B2698759B8A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32024" y="5197453"/>
            <a:ext cx="6610016" cy="1497323"/>
          </a:xfrm>
          <a:prstGeom prst="rect">
            <a:avLst/>
          </a:prstGeom>
        </p:spPr>
      </p:pic>
      <p:sp>
        <p:nvSpPr>
          <p:cNvPr id="30" name="矩形 29">
            <a:extLst>
              <a:ext uri="{FF2B5EF4-FFF2-40B4-BE49-F238E27FC236}">
                <a16:creationId xmlns:a16="http://schemas.microsoft.com/office/drawing/2014/main" id="{3958FCCB-F190-1892-BC80-8843956D09C5}"/>
              </a:ext>
            </a:extLst>
          </p:cNvPr>
          <p:cNvSpPr>
            <a:spLocks/>
          </p:cNvSpPr>
          <p:nvPr/>
        </p:nvSpPr>
        <p:spPr>
          <a:xfrm>
            <a:off x="6521323" y="4451506"/>
            <a:ext cx="2058852"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gn="ctr"/>
            <a:r>
              <a:rPr kumimoji="1" lang="en-US" altLang="zh-CN" sz="1400" b="1" dirty="0">
                <a:solidFill>
                  <a:schemeClr val="tx1"/>
                </a:solidFill>
                <a:latin typeface="Calibri" panose="020F0502020204030204" pitchFamily="34" charset="0"/>
                <a:ea typeface="Calibri" panose="020F0502020204030204" pitchFamily="34" charset="0"/>
                <a:cs typeface="Calibri" panose="020F0502020204030204" pitchFamily="34" charset="0"/>
                <a:sym typeface="Arial" panose="020B0604020202020204" pitchFamily="34" charset="0"/>
              </a:rPr>
              <a:t>Dungeon Test 2</a:t>
            </a:r>
          </a:p>
        </p:txBody>
      </p:sp>
      <p:sp>
        <p:nvSpPr>
          <p:cNvPr id="31" name="矩形 30">
            <a:extLst>
              <a:ext uri="{FF2B5EF4-FFF2-40B4-BE49-F238E27FC236}">
                <a16:creationId xmlns:a16="http://schemas.microsoft.com/office/drawing/2014/main" id="{AF41B6BF-3B28-FC64-EB31-890B916E4A3A}"/>
              </a:ext>
            </a:extLst>
          </p:cNvPr>
          <p:cNvSpPr>
            <a:spLocks/>
          </p:cNvSpPr>
          <p:nvPr/>
        </p:nvSpPr>
        <p:spPr>
          <a:xfrm>
            <a:off x="9071858" y="4454890"/>
            <a:ext cx="2058852"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gn="ctr"/>
            <a:r>
              <a:rPr kumimoji="1" lang="en-US" altLang="zh-CN" sz="1400" b="1" dirty="0">
                <a:solidFill>
                  <a:schemeClr val="tx1"/>
                </a:solidFill>
                <a:latin typeface="Calibri" panose="020F0502020204030204" pitchFamily="34" charset="0"/>
                <a:ea typeface="Calibri" panose="020F0502020204030204" pitchFamily="34" charset="0"/>
                <a:cs typeface="Calibri" panose="020F0502020204030204" pitchFamily="34" charset="0"/>
                <a:sym typeface="Arial" panose="020B0604020202020204" pitchFamily="34" charset="0"/>
              </a:rPr>
              <a:t>Dungeon Test 3</a:t>
            </a:r>
          </a:p>
        </p:txBody>
      </p:sp>
      <p:sp>
        <p:nvSpPr>
          <p:cNvPr id="33" name="文本框 32">
            <a:extLst>
              <a:ext uri="{FF2B5EF4-FFF2-40B4-BE49-F238E27FC236}">
                <a16:creationId xmlns:a16="http://schemas.microsoft.com/office/drawing/2014/main" id="{A16A8044-B25D-3D3A-D8DA-3D701217DE05}"/>
              </a:ext>
            </a:extLst>
          </p:cNvPr>
          <p:cNvSpPr txBox="1"/>
          <p:nvPr/>
        </p:nvSpPr>
        <p:spPr>
          <a:xfrm>
            <a:off x="7321940" y="1195006"/>
            <a:ext cx="3499835" cy="793359"/>
          </a:xfrm>
          <a:prstGeom prst="rect">
            <a:avLst/>
          </a:prstGeom>
          <a:noFill/>
        </p:spPr>
        <p:txBody>
          <a:bodyPr wrap="square">
            <a:spAutoFit/>
          </a:bodyPr>
          <a:lstStyle/>
          <a:p>
            <a:pPr marR="0" lvl="0" algn="ctr">
              <a:lnSpc>
                <a:spcPct val="150000"/>
              </a:lnSpc>
              <a:spcBef>
                <a:spcPts val="0"/>
              </a:spcBef>
              <a:spcAft>
                <a:spcPts val="0"/>
              </a:spcAft>
            </a:pPr>
            <a:r>
              <a:rPr lang="en-US" altLang="zh-CN" sz="1600" b="1" kern="100" dirty="0">
                <a:effectLst/>
                <a:latin typeface="Calibri" panose="020F0502020204030204" pitchFamily="34" charset="0"/>
                <a:ea typeface="等线" panose="02010600030101010101" pitchFamily="2" charset="-122"/>
                <a:cs typeface="Calibri" panose="020F0502020204030204" pitchFamily="34" charset="0"/>
              </a:rPr>
              <a:t>Initially Distant and Complex Terrain</a:t>
            </a:r>
          </a:p>
          <a:p>
            <a:pPr marR="0" lvl="0" algn="ctr">
              <a:lnSpc>
                <a:spcPct val="150000"/>
              </a:lnSpc>
              <a:spcBef>
                <a:spcPts val="0"/>
              </a:spcBef>
              <a:spcAft>
                <a:spcPts val="0"/>
              </a:spcAft>
            </a:pPr>
            <a:r>
              <a:rPr lang="en-US" altLang="zh-CN" sz="1600" b="1" kern="100" dirty="0">
                <a:effectLst/>
                <a:latin typeface="Calibri" panose="020F0502020204030204" pitchFamily="34" charset="0"/>
                <a:ea typeface="等线" panose="02010600030101010101" pitchFamily="2" charset="-122"/>
                <a:cs typeface="Times New Roman" panose="02020603050405020304" pitchFamily="18" charset="0"/>
              </a:rPr>
              <a:t>–</a:t>
            </a:r>
            <a:r>
              <a:rPr lang="en-US" altLang="zh-CN" sz="1600" b="1" kern="100" dirty="0">
                <a:effectLst/>
                <a:latin typeface="等线" panose="02010600030101010101" pitchFamily="2" charset="-122"/>
                <a:ea typeface="等线" panose="02010600030101010101" pitchFamily="2" charset="-122"/>
                <a:cs typeface="Calibri" panose="020F0502020204030204" pitchFamily="34" charset="0"/>
              </a:rPr>
              <a:t> </a:t>
            </a:r>
            <a:r>
              <a:rPr lang="en-US" altLang="zh-CN" sz="1600" b="1" kern="100" dirty="0">
                <a:effectLst/>
                <a:latin typeface="Calibri" panose="020F0502020204030204" pitchFamily="34" charset="0"/>
                <a:ea typeface="等线" panose="02010600030101010101" pitchFamily="2" charset="-122"/>
                <a:cs typeface="Calibri" panose="020F0502020204030204" pitchFamily="34" charset="0"/>
              </a:rPr>
              <a:t>Dungeon Test 2, Test 3</a:t>
            </a:r>
            <a:endParaRPr lang="en-US" altLang="zh-CN" sz="1600" kern="100" dirty="0">
              <a:effectLst/>
              <a:latin typeface="等线" panose="02010600030101010101" pitchFamily="2" charset="-122"/>
              <a:ea typeface="等线" panose="02010600030101010101" pitchFamily="2" charset="-122"/>
              <a:cs typeface="Times New Roman" panose="02020603050405020304" pitchFamily="18" charset="0"/>
            </a:endParaRPr>
          </a:p>
        </p:txBody>
      </p:sp>
      <p:sp>
        <p:nvSpPr>
          <p:cNvPr id="37" name="文本框 36">
            <a:extLst>
              <a:ext uri="{FF2B5EF4-FFF2-40B4-BE49-F238E27FC236}">
                <a16:creationId xmlns:a16="http://schemas.microsoft.com/office/drawing/2014/main" id="{8A842A3E-6F67-C0A5-2A9C-A57F328CFCDB}"/>
              </a:ext>
            </a:extLst>
          </p:cNvPr>
          <p:cNvSpPr txBox="1"/>
          <p:nvPr/>
        </p:nvSpPr>
        <p:spPr>
          <a:xfrm>
            <a:off x="7394383" y="5629252"/>
            <a:ext cx="3881459" cy="584775"/>
          </a:xfrm>
          <a:prstGeom prst="rect">
            <a:avLst/>
          </a:prstGeom>
          <a:noFill/>
        </p:spPr>
        <p:txBody>
          <a:bodyPr wrap="square">
            <a:spAutoFit/>
          </a:bodyPr>
          <a:lstStyle/>
          <a:p>
            <a:pPr marL="0" marR="0" algn="ctr">
              <a:spcBef>
                <a:spcPts val="0"/>
              </a:spcBef>
              <a:spcAft>
                <a:spcPts val="0"/>
              </a:spcAft>
            </a:pPr>
            <a:r>
              <a:rPr lang="en-US" altLang="zh-CN" sz="1600" b="1" kern="100" dirty="0">
                <a:effectLst/>
                <a:latin typeface="Calibri" panose="020F0502020204030204" pitchFamily="34" charset="0"/>
                <a:ea typeface="等线" panose="02010600030101010101" pitchFamily="2" charset="-122"/>
                <a:cs typeface="Calibri" panose="020F0502020204030204" pitchFamily="34" charset="0"/>
              </a:rPr>
              <a:t>Monster Location Near the Cycle Entrance</a:t>
            </a:r>
          </a:p>
          <a:p>
            <a:pPr marL="0" marR="0" algn="ctr">
              <a:spcBef>
                <a:spcPts val="0"/>
              </a:spcBef>
              <a:spcAft>
                <a:spcPts val="0"/>
              </a:spcAft>
            </a:pPr>
            <a:r>
              <a:rPr lang="en-US" altLang="zh-CN" sz="1600" b="1" kern="100" dirty="0">
                <a:effectLst/>
                <a:latin typeface="Calibri" panose="020F0502020204030204" pitchFamily="34" charset="0"/>
                <a:ea typeface="等线" panose="02010600030101010101" pitchFamily="2" charset="-122"/>
                <a:cs typeface="Times New Roman" panose="02020603050405020304" pitchFamily="18" charset="0"/>
              </a:rPr>
              <a:t>–</a:t>
            </a:r>
            <a:r>
              <a:rPr lang="en-US" altLang="zh-CN" sz="1600" b="1" kern="100" dirty="0">
                <a:effectLst/>
                <a:latin typeface="等线" panose="02010600030101010101" pitchFamily="2" charset="-122"/>
                <a:ea typeface="等线" panose="02010600030101010101" pitchFamily="2" charset="-122"/>
                <a:cs typeface="Calibri" panose="020F0502020204030204" pitchFamily="34" charset="0"/>
              </a:rPr>
              <a:t> </a:t>
            </a:r>
            <a:r>
              <a:rPr lang="en-US" altLang="zh-CN" sz="1600" b="1" kern="100" dirty="0">
                <a:effectLst/>
                <a:latin typeface="Calibri" panose="020F0502020204030204" pitchFamily="34" charset="0"/>
                <a:ea typeface="等线" panose="02010600030101010101" pitchFamily="2" charset="-122"/>
                <a:cs typeface="Calibri" panose="020F0502020204030204" pitchFamily="34" charset="0"/>
              </a:rPr>
              <a:t>Dungeon L</a:t>
            </a:r>
            <a:endParaRPr lang="en-US" altLang="zh-CN" sz="1600" kern="100" dirty="0">
              <a:effectLst/>
              <a:latin typeface="等线" panose="02010600030101010101" pitchFamily="2" charset="-122"/>
              <a:ea typeface="等线" panose="02010600030101010101" pitchFamily="2" charset="-122"/>
              <a:cs typeface="Times New Roman" panose="02020603050405020304" pitchFamily="18" charset="0"/>
            </a:endParaRPr>
          </a:p>
        </p:txBody>
      </p:sp>
    </p:spTree>
    <p:custDataLst>
      <p:tags r:id="rId1"/>
    </p:custDataLst>
    <p:extLst>
      <p:ext uri="{BB962C8B-B14F-4D97-AF65-F5344CB8AC3E}">
        <p14:creationId xmlns:p14="http://schemas.microsoft.com/office/powerpoint/2010/main" val="214217004"/>
      </p:ext>
    </p:extLst>
  </p:cSld>
  <p:clrMapOvr>
    <a:masterClrMapping/>
  </p:clrMapOvr>
  <mc:AlternateContent xmlns:mc="http://schemas.openxmlformats.org/markup-compatibility/2006" xmlns:p14="http://schemas.microsoft.com/office/powerpoint/2010/main">
    <mc:Choice Requires="p14">
      <p:transition spd="slow" p14:dur="1500" advClick="0" advTm="1000">
        <p:random/>
      </p:transition>
    </mc:Choice>
    <mc:Fallback xmlns="">
      <p:transition spd="slow" advClick="0" advTm="1000">
        <p:random/>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 imgW="347" imgH="348" progId="TCLayout.ActiveDocument.1">
                  <p:embed/>
                </p:oleObj>
              </mc:Choice>
              <mc:Fallback>
                <p:oleObj name="think-cell Slide" r:id="rId2"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a:xfrm>
            <a:off x="3483430" y="1788539"/>
            <a:ext cx="5225140" cy="1640461"/>
          </a:xfrm>
        </p:spPr>
        <p:txBody>
          <a:bodyPr>
            <a:normAutofit/>
          </a:bodyPr>
          <a:lstStyle/>
          <a:p>
            <a:r>
              <a:rPr lang="en-US" altLang="zh-CN" sz="9600" b="1" dirty="0">
                <a:latin typeface="Calibri" panose="020F0502020204030204" pitchFamily="34" charset="0"/>
                <a:ea typeface="Calibri" panose="020F0502020204030204" pitchFamily="34" charset="0"/>
                <a:cs typeface="Calibri" panose="020F0502020204030204" pitchFamily="34" charset="0"/>
              </a:rPr>
              <a:t>Thanks</a:t>
            </a:r>
            <a:endParaRPr lang="zh-CN" altLang="en-US" sz="4400" b="1" dirty="0">
              <a:latin typeface="Calibri" panose="020F0502020204030204" pitchFamily="34" charset="0"/>
              <a:ea typeface="等线 Light" panose="02010600030101010101" pitchFamily="2" charset="-122"/>
              <a:cs typeface="Calibri" panose="020F0502020204030204" pitchFamily="34" charset="0"/>
            </a:endParaRPr>
          </a:p>
        </p:txBody>
      </p:sp>
    </p:spTree>
    <p:extLst>
      <p:ext uri="{BB962C8B-B14F-4D97-AF65-F5344CB8AC3E}">
        <p14:creationId xmlns:p14="http://schemas.microsoft.com/office/powerpoint/2010/main" val="11071485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2981750C-1C2D-4684-ADF9-76C452A0BBF3}"/>
              </a:ext>
            </a:extLst>
          </p:cNvPr>
          <p:cNvGrpSpPr>
            <a:grpSpLocks noChangeAspect="1"/>
          </p:cNvGrpSpPr>
          <p:nvPr/>
        </p:nvGrpSpPr>
        <p:grpSpPr>
          <a:xfrm>
            <a:off x="0" y="0"/>
            <a:ext cx="11132599" cy="6858000"/>
            <a:chOff x="0" y="0"/>
            <a:chExt cx="11132599" cy="6858000"/>
          </a:xfrm>
        </p:grpSpPr>
        <p:grpSp>
          <p:nvGrpSpPr>
            <p:cNvPr id="3" name="组合 2">
              <a:extLst>
                <a:ext uri="{FF2B5EF4-FFF2-40B4-BE49-F238E27FC236}">
                  <a16:creationId xmlns:a16="http://schemas.microsoft.com/office/drawing/2014/main" id="{1D94505A-CA28-44C4-BED2-78761F0C59F1}"/>
                </a:ext>
              </a:extLst>
            </p:cNvPr>
            <p:cNvGrpSpPr/>
            <p:nvPr/>
          </p:nvGrpSpPr>
          <p:grpSpPr>
            <a:xfrm>
              <a:off x="0" y="0"/>
              <a:ext cx="4646078" cy="6858000"/>
              <a:chOff x="0" y="0"/>
              <a:chExt cx="4646078" cy="6858000"/>
            </a:xfrm>
          </p:grpSpPr>
          <p:sp>
            <p:nvSpPr>
              <p:cNvPr id="34" name="任意多边形: 形状 33">
                <a:extLst>
                  <a:ext uri="{FF2B5EF4-FFF2-40B4-BE49-F238E27FC236}">
                    <a16:creationId xmlns:a16="http://schemas.microsoft.com/office/drawing/2014/main" id="{F02AC1BD-CCBA-4478-A63D-87AF9F9A4DFA}"/>
                  </a:ext>
                </a:extLst>
              </p:cNvPr>
              <p:cNvSpPr/>
              <p:nvPr/>
            </p:nvSpPr>
            <p:spPr bwMode="auto">
              <a:xfrm>
                <a:off x="0" y="2279659"/>
                <a:ext cx="2320475" cy="3462689"/>
              </a:xfrm>
              <a:custGeom>
                <a:avLst/>
                <a:gdLst>
                  <a:gd name="connsiteX0" fmla="*/ 864869 w 1724024"/>
                  <a:gd name="connsiteY0" fmla="*/ 0 h 2572646"/>
                  <a:gd name="connsiteX1" fmla="*/ 1724024 w 1724024"/>
                  <a:gd name="connsiteY1" fmla="*/ 859155 h 2572646"/>
                  <a:gd name="connsiteX2" fmla="*/ 0 w 1724024"/>
                  <a:gd name="connsiteY2" fmla="*/ 2572646 h 2572646"/>
                  <a:gd name="connsiteX3" fmla="*/ 0 w 1724024"/>
                  <a:gd name="connsiteY3" fmla="*/ 859596 h 2572646"/>
                </a:gdLst>
                <a:ahLst/>
                <a:cxnLst>
                  <a:cxn ang="0">
                    <a:pos x="connsiteX0" y="connsiteY0"/>
                  </a:cxn>
                  <a:cxn ang="0">
                    <a:pos x="connsiteX1" y="connsiteY1"/>
                  </a:cxn>
                  <a:cxn ang="0">
                    <a:pos x="connsiteX2" y="connsiteY2"/>
                  </a:cxn>
                  <a:cxn ang="0">
                    <a:pos x="connsiteX3" y="connsiteY3"/>
                  </a:cxn>
                </a:cxnLst>
                <a:rect l="l" t="t" r="r" b="b"/>
                <a:pathLst>
                  <a:path w="1724024" h="2572646">
                    <a:moveTo>
                      <a:pt x="864869" y="0"/>
                    </a:moveTo>
                    <a:lnTo>
                      <a:pt x="1724024" y="859155"/>
                    </a:lnTo>
                    <a:lnTo>
                      <a:pt x="0" y="2572646"/>
                    </a:lnTo>
                    <a:lnTo>
                      <a:pt x="0" y="859596"/>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normAutofit/>
              </a:bodyPr>
              <a:lstStyle>
                <a:defPPr>
                  <a:defRPr lang="id-ID"/>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id-ID"/>
              </a:p>
            </p:txBody>
          </p:sp>
          <p:sp>
            <p:nvSpPr>
              <p:cNvPr id="35" name="任意多边形: 形状 34">
                <a:extLst>
                  <a:ext uri="{FF2B5EF4-FFF2-40B4-BE49-F238E27FC236}">
                    <a16:creationId xmlns:a16="http://schemas.microsoft.com/office/drawing/2014/main" id="{5FE5EA58-650A-4E7B-B865-CFCD55130137}"/>
                  </a:ext>
                </a:extLst>
              </p:cNvPr>
              <p:cNvSpPr/>
              <p:nvPr/>
            </p:nvSpPr>
            <p:spPr bwMode="auto">
              <a:xfrm>
                <a:off x="0" y="1119140"/>
                <a:ext cx="1164083" cy="2316915"/>
              </a:xfrm>
              <a:custGeom>
                <a:avLst/>
                <a:gdLst>
                  <a:gd name="connsiteX0" fmla="*/ 0 w 864869"/>
                  <a:gd name="connsiteY0" fmla="*/ 0 h 1721379"/>
                  <a:gd name="connsiteX1" fmla="*/ 864869 w 864869"/>
                  <a:gd name="connsiteY1" fmla="*/ 862224 h 1721379"/>
                  <a:gd name="connsiteX2" fmla="*/ 475 w 864869"/>
                  <a:gd name="connsiteY2" fmla="*/ 1721379 h 1721379"/>
                  <a:gd name="connsiteX3" fmla="*/ 0 w 864869"/>
                  <a:gd name="connsiteY3" fmla="*/ 1720905 h 1721379"/>
                </a:gdLst>
                <a:ahLst/>
                <a:cxnLst>
                  <a:cxn ang="0">
                    <a:pos x="connsiteX0" y="connsiteY0"/>
                  </a:cxn>
                  <a:cxn ang="0">
                    <a:pos x="connsiteX1" y="connsiteY1"/>
                  </a:cxn>
                  <a:cxn ang="0">
                    <a:pos x="connsiteX2" y="connsiteY2"/>
                  </a:cxn>
                  <a:cxn ang="0">
                    <a:pos x="connsiteX3" y="connsiteY3"/>
                  </a:cxn>
                </a:cxnLst>
                <a:rect l="l" t="t" r="r" b="b"/>
                <a:pathLst>
                  <a:path w="864869" h="1721379">
                    <a:moveTo>
                      <a:pt x="0" y="0"/>
                    </a:moveTo>
                    <a:lnTo>
                      <a:pt x="864869" y="862224"/>
                    </a:lnTo>
                    <a:lnTo>
                      <a:pt x="475" y="1721379"/>
                    </a:lnTo>
                    <a:lnTo>
                      <a:pt x="0" y="1720905"/>
                    </a:lnTo>
                    <a:close/>
                  </a:path>
                </a:pathLst>
              </a:custGeom>
              <a:solidFill>
                <a:schemeClr val="bg1">
                  <a:lumMod val="85000"/>
                </a:schemeClr>
              </a:solidFill>
              <a:ln>
                <a:solidFill>
                  <a:schemeClr val="bg1">
                    <a:lumMod val="95000"/>
                  </a:schemeClr>
                </a:solidFill>
              </a:ln>
            </p:spPr>
            <p:txBody>
              <a:bodyPr vert="horz" wrap="square" lIns="91440" tIns="45720" rIns="91440" bIns="45720" numCol="1" anchor="t" anchorCtr="0" compatLnSpc="1">
                <a:prstTxWarp prst="textNoShape">
                  <a:avLst/>
                </a:prstTxWarp>
                <a:normAutofit/>
              </a:bodyPr>
              <a:lstStyle>
                <a:defPPr>
                  <a:defRPr lang="id-ID"/>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id-ID"/>
              </a:p>
            </p:txBody>
          </p:sp>
          <p:sp>
            <p:nvSpPr>
              <p:cNvPr id="36" name="任意多边形: 形状 35">
                <a:extLst>
                  <a:ext uri="{FF2B5EF4-FFF2-40B4-BE49-F238E27FC236}">
                    <a16:creationId xmlns:a16="http://schemas.microsoft.com/office/drawing/2014/main" id="{2F9FA224-65B4-49B1-B15A-C73A9DDB66B2}"/>
                  </a:ext>
                </a:extLst>
              </p:cNvPr>
              <p:cNvSpPr/>
              <p:nvPr/>
            </p:nvSpPr>
            <p:spPr bwMode="auto">
              <a:xfrm>
                <a:off x="0" y="0"/>
                <a:ext cx="3489686" cy="3455074"/>
              </a:xfrm>
              <a:custGeom>
                <a:avLst/>
                <a:gdLst>
                  <a:gd name="connsiteX0" fmla="*/ 0 w 2592704"/>
                  <a:gd name="connsiteY0" fmla="*/ 0 h 2566988"/>
                  <a:gd name="connsiteX1" fmla="*/ 879633 w 2592704"/>
                  <a:gd name="connsiteY1" fmla="*/ 0 h 2566988"/>
                  <a:gd name="connsiteX2" fmla="*/ 2592704 w 2592704"/>
                  <a:gd name="connsiteY2" fmla="*/ 1707833 h 2566988"/>
                  <a:gd name="connsiteX3" fmla="*/ 1728310 w 2592704"/>
                  <a:gd name="connsiteY3" fmla="*/ 2566988 h 2566988"/>
                  <a:gd name="connsiteX4" fmla="*/ 0 w 2592704"/>
                  <a:gd name="connsiteY4" fmla="*/ 842197 h 256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2704" h="2566988">
                    <a:moveTo>
                      <a:pt x="0" y="0"/>
                    </a:moveTo>
                    <a:lnTo>
                      <a:pt x="879633" y="0"/>
                    </a:lnTo>
                    <a:lnTo>
                      <a:pt x="2592704" y="1707833"/>
                    </a:lnTo>
                    <a:lnTo>
                      <a:pt x="1728310" y="2566988"/>
                    </a:lnTo>
                    <a:lnTo>
                      <a:pt x="0" y="84219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id-ID"/>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id-ID"/>
              </a:p>
            </p:txBody>
          </p:sp>
          <p:sp>
            <p:nvSpPr>
              <p:cNvPr id="37" name="任意多边形: 形状 36">
                <a:extLst>
                  <a:ext uri="{FF2B5EF4-FFF2-40B4-BE49-F238E27FC236}">
                    <a16:creationId xmlns:a16="http://schemas.microsoft.com/office/drawing/2014/main" id="{BD4B78CC-C504-4412-8227-134E549863DD}"/>
                  </a:ext>
                </a:extLst>
              </p:cNvPr>
              <p:cNvSpPr/>
              <p:nvPr/>
            </p:nvSpPr>
            <p:spPr bwMode="auto">
              <a:xfrm>
                <a:off x="0" y="2260637"/>
                <a:ext cx="4646078" cy="4597363"/>
              </a:xfrm>
              <a:custGeom>
                <a:avLst/>
                <a:gdLst>
                  <a:gd name="connsiteX0" fmla="*/ 2592704 w 3451859"/>
                  <a:gd name="connsiteY0" fmla="*/ 0 h 3415665"/>
                  <a:gd name="connsiteX1" fmla="*/ 3451859 w 3451859"/>
                  <a:gd name="connsiteY1" fmla="*/ 859155 h 3415665"/>
                  <a:gd name="connsiteX2" fmla="*/ 879633 w 3451859"/>
                  <a:gd name="connsiteY2" fmla="*/ 3415665 h 3415665"/>
                  <a:gd name="connsiteX3" fmla="*/ 0 w 3451859"/>
                  <a:gd name="connsiteY3" fmla="*/ 3415665 h 3415665"/>
                  <a:gd name="connsiteX4" fmla="*/ 0 w 3451859"/>
                  <a:gd name="connsiteY4" fmla="*/ 2576895 h 34156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1859" h="3415665">
                    <a:moveTo>
                      <a:pt x="2592704" y="0"/>
                    </a:moveTo>
                    <a:lnTo>
                      <a:pt x="3451859" y="859155"/>
                    </a:lnTo>
                    <a:lnTo>
                      <a:pt x="879633" y="3415665"/>
                    </a:lnTo>
                    <a:lnTo>
                      <a:pt x="0" y="3415665"/>
                    </a:lnTo>
                    <a:lnTo>
                      <a:pt x="0" y="2576895"/>
                    </a:lnTo>
                    <a:close/>
                  </a:path>
                </a:pathLst>
              </a:custGeom>
              <a:solidFill>
                <a:schemeClr val="accent1"/>
              </a:solidFill>
              <a:ln>
                <a:noFill/>
              </a:ln>
            </p:spPr>
            <p:txBody>
              <a:bodyPr vert="horz" wrap="square" lIns="91440" tIns="45720" rIns="91440" bIns="45720" numCol="1" anchor="t" anchorCtr="0" compatLnSpc="1">
                <a:prstTxWarp prst="textNoShape">
                  <a:avLst/>
                </a:prstTxWarp>
                <a:normAutofit/>
              </a:bodyPr>
              <a:lstStyle>
                <a:defPPr>
                  <a:defRPr lang="id-ID"/>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id-ID"/>
              </a:p>
            </p:txBody>
          </p:sp>
          <p:sp>
            <p:nvSpPr>
              <p:cNvPr id="38" name="文本框 37">
                <a:extLst>
                  <a:ext uri="{FF2B5EF4-FFF2-40B4-BE49-F238E27FC236}">
                    <a16:creationId xmlns:a16="http://schemas.microsoft.com/office/drawing/2014/main" id="{43FC534C-1A27-4475-9F6C-C287D6C13B8A}"/>
                  </a:ext>
                </a:extLst>
              </p:cNvPr>
              <p:cNvSpPr txBox="1"/>
              <p:nvPr/>
            </p:nvSpPr>
            <p:spPr>
              <a:xfrm rot="18883833">
                <a:off x="144593" y="3943690"/>
                <a:ext cx="4356893" cy="1231257"/>
              </a:xfrm>
              <a:prstGeom prst="rect">
                <a:avLst/>
              </a:prstGeom>
            </p:spPr>
            <p:txBody>
              <a:bodyPr wrap="square" lIns="91440" tIns="45720" rIns="91440" bIns="45720" anchor="ctr" anchorCtr="0">
                <a:normAutofit/>
              </a:bodyPr>
              <a:lstStyle>
                <a:defPPr>
                  <a:defRPr lang="id-ID"/>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r>
                  <a:rPr lang="id-ID" sz="6600" b="1" dirty="0">
                    <a:solidFill>
                      <a:schemeClr val="bg2"/>
                    </a:solidFill>
                    <a:latin typeface="Calibri" panose="020F0502020204030204" pitchFamily="34" charset="0"/>
                    <a:ea typeface="Calibri" panose="020F0502020204030204" pitchFamily="34" charset="0"/>
                    <a:cs typeface="Calibri" panose="020F0502020204030204" pitchFamily="34" charset="0"/>
                  </a:rPr>
                  <a:t>CONTENT</a:t>
                </a:r>
              </a:p>
            </p:txBody>
          </p:sp>
        </p:grpSp>
        <p:grpSp>
          <p:nvGrpSpPr>
            <p:cNvPr id="4" name="组合 3">
              <a:extLst>
                <a:ext uri="{FF2B5EF4-FFF2-40B4-BE49-F238E27FC236}">
                  <a16:creationId xmlns:a16="http://schemas.microsoft.com/office/drawing/2014/main" id="{0BB45ECC-1F99-4836-B224-C3C12467FCDC}"/>
                </a:ext>
              </a:extLst>
            </p:cNvPr>
            <p:cNvGrpSpPr/>
            <p:nvPr/>
          </p:nvGrpSpPr>
          <p:grpSpPr>
            <a:xfrm>
              <a:off x="6079590" y="1544562"/>
              <a:ext cx="5053009" cy="861180"/>
              <a:chOff x="6079590" y="1379079"/>
              <a:chExt cx="5053009" cy="861180"/>
            </a:xfrm>
          </p:grpSpPr>
          <p:grpSp>
            <p:nvGrpSpPr>
              <p:cNvPr id="29" name="组合 28">
                <a:extLst>
                  <a:ext uri="{FF2B5EF4-FFF2-40B4-BE49-F238E27FC236}">
                    <a16:creationId xmlns:a16="http://schemas.microsoft.com/office/drawing/2014/main" id="{D4E7BAFF-81E5-4532-BF24-1D93273BA8B5}"/>
                  </a:ext>
                </a:extLst>
              </p:cNvPr>
              <p:cNvGrpSpPr/>
              <p:nvPr/>
            </p:nvGrpSpPr>
            <p:grpSpPr>
              <a:xfrm>
                <a:off x="6916519" y="1692607"/>
                <a:ext cx="194460" cy="234124"/>
                <a:chOff x="6932220" y="2026513"/>
                <a:chExt cx="194460" cy="234124"/>
              </a:xfrm>
            </p:grpSpPr>
            <p:sp>
              <p:nvSpPr>
                <p:cNvPr id="32" name="任意多边形: 形状 31">
                  <a:extLst>
                    <a:ext uri="{FF2B5EF4-FFF2-40B4-BE49-F238E27FC236}">
                      <a16:creationId xmlns:a16="http://schemas.microsoft.com/office/drawing/2014/main" id="{099840BB-7EA6-42E3-A329-47790C326002}"/>
                    </a:ext>
                  </a:extLst>
                </p:cNvPr>
                <p:cNvSpPr/>
                <p:nvPr/>
              </p:nvSpPr>
              <p:spPr bwMode="auto">
                <a:xfrm>
                  <a:off x="6932220" y="2026513"/>
                  <a:ext cx="194460" cy="155899"/>
                </a:xfrm>
                <a:custGeom>
                  <a:avLst/>
                  <a:gdLst>
                    <a:gd name="T0" fmla="*/ 0 w 353"/>
                    <a:gd name="T1" fmla="*/ 0 h 283"/>
                    <a:gd name="T2" fmla="*/ 282 w 353"/>
                    <a:gd name="T3" fmla="*/ 283 h 283"/>
                    <a:gd name="T4" fmla="*/ 353 w 353"/>
                    <a:gd name="T5" fmla="*/ 212 h 283"/>
                    <a:gd name="T6" fmla="*/ 141 w 353"/>
                    <a:gd name="T7" fmla="*/ 0 h 283"/>
                    <a:gd name="T8" fmla="*/ 0 w 353"/>
                    <a:gd name="T9" fmla="*/ 0 h 283"/>
                  </a:gdLst>
                  <a:ahLst/>
                  <a:cxnLst>
                    <a:cxn ang="0">
                      <a:pos x="T0" y="T1"/>
                    </a:cxn>
                    <a:cxn ang="0">
                      <a:pos x="T2" y="T3"/>
                    </a:cxn>
                    <a:cxn ang="0">
                      <a:pos x="T4" y="T5"/>
                    </a:cxn>
                    <a:cxn ang="0">
                      <a:pos x="T6" y="T7"/>
                    </a:cxn>
                    <a:cxn ang="0">
                      <a:pos x="T8" y="T9"/>
                    </a:cxn>
                  </a:cxnLst>
                  <a:rect l="0" t="0" r="r" b="b"/>
                  <a:pathLst>
                    <a:path w="353" h="283">
                      <a:moveTo>
                        <a:pt x="0" y="0"/>
                      </a:moveTo>
                      <a:lnTo>
                        <a:pt x="282" y="283"/>
                      </a:lnTo>
                      <a:lnTo>
                        <a:pt x="353" y="212"/>
                      </a:lnTo>
                      <a:lnTo>
                        <a:pt x="141" y="0"/>
                      </a:lnTo>
                      <a:lnTo>
                        <a:pt x="0" y="0"/>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normAutofit fontScale="40000" lnSpcReduction="20000"/>
                </a:bodyPr>
                <a:lstStyle>
                  <a:defPPr>
                    <a:defRPr lang="id-ID"/>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id-ID"/>
                </a:p>
              </p:txBody>
            </p:sp>
            <p:sp>
              <p:nvSpPr>
                <p:cNvPr id="33" name="任意多边形: 形状 32">
                  <a:extLst>
                    <a:ext uri="{FF2B5EF4-FFF2-40B4-BE49-F238E27FC236}">
                      <a16:creationId xmlns:a16="http://schemas.microsoft.com/office/drawing/2014/main" id="{413B8369-D768-4EA1-924C-67FFD581B733}"/>
                    </a:ext>
                  </a:extLst>
                </p:cNvPr>
                <p:cNvSpPr/>
                <p:nvPr/>
              </p:nvSpPr>
              <p:spPr bwMode="auto">
                <a:xfrm>
                  <a:off x="6932220" y="2104738"/>
                  <a:ext cx="194460" cy="155899"/>
                </a:xfrm>
                <a:custGeom>
                  <a:avLst/>
                  <a:gdLst>
                    <a:gd name="T0" fmla="*/ 0 w 353"/>
                    <a:gd name="T1" fmla="*/ 283 h 283"/>
                    <a:gd name="T2" fmla="*/ 282 w 353"/>
                    <a:gd name="T3" fmla="*/ 0 h 283"/>
                    <a:gd name="T4" fmla="*/ 353 w 353"/>
                    <a:gd name="T5" fmla="*/ 71 h 283"/>
                    <a:gd name="T6" fmla="*/ 141 w 353"/>
                    <a:gd name="T7" fmla="*/ 283 h 283"/>
                    <a:gd name="T8" fmla="*/ 0 w 353"/>
                    <a:gd name="T9" fmla="*/ 283 h 283"/>
                  </a:gdLst>
                  <a:ahLst/>
                  <a:cxnLst>
                    <a:cxn ang="0">
                      <a:pos x="T0" y="T1"/>
                    </a:cxn>
                    <a:cxn ang="0">
                      <a:pos x="T2" y="T3"/>
                    </a:cxn>
                    <a:cxn ang="0">
                      <a:pos x="T4" y="T5"/>
                    </a:cxn>
                    <a:cxn ang="0">
                      <a:pos x="T6" y="T7"/>
                    </a:cxn>
                    <a:cxn ang="0">
                      <a:pos x="T8" y="T9"/>
                    </a:cxn>
                  </a:cxnLst>
                  <a:rect l="0" t="0" r="r" b="b"/>
                  <a:pathLst>
                    <a:path w="353" h="283">
                      <a:moveTo>
                        <a:pt x="0" y="283"/>
                      </a:moveTo>
                      <a:lnTo>
                        <a:pt x="282" y="0"/>
                      </a:lnTo>
                      <a:lnTo>
                        <a:pt x="353" y="71"/>
                      </a:lnTo>
                      <a:lnTo>
                        <a:pt x="141" y="283"/>
                      </a:lnTo>
                      <a:lnTo>
                        <a:pt x="0" y="283"/>
                      </a:lnTo>
                      <a:close/>
                    </a:path>
                  </a:pathLst>
                </a:custGeom>
                <a:solidFill>
                  <a:schemeClr val="accent1"/>
                </a:solidFill>
                <a:ln>
                  <a:noFill/>
                </a:ln>
              </p:spPr>
              <p:txBody>
                <a:bodyPr vert="horz" wrap="square" lIns="91440" tIns="45720" rIns="91440" bIns="45720" numCol="1" anchor="t" anchorCtr="0" compatLnSpc="1">
                  <a:prstTxWarp prst="textNoShape">
                    <a:avLst/>
                  </a:prstTxWarp>
                  <a:normAutofit fontScale="40000" lnSpcReduction="20000"/>
                </a:bodyPr>
                <a:lstStyle>
                  <a:defPPr>
                    <a:defRPr lang="id-ID"/>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id-ID"/>
                </a:p>
              </p:txBody>
            </p:sp>
          </p:grpSp>
          <p:sp>
            <p:nvSpPr>
              <p:cNvPr id="30" name="矩形 29">
                <a:extLst>
                  <a:ext uri="{FF2B5EF4-FFF2-40B4-BE49-F238E27FC236}">
                    <a16:creationId xmlns:a16="http://schemas.microsoft.com/office/drawing/2014/main" id="{E709B91D-7F24-4B51-969D-56245AC1600A}"/>
                  </a:ext>
                </a:extLst>
              </p:cNvPr>
              <p:cNvSpPr/>
              <p:nvPr/>
            </p:nvSpPr>
            <p:spPr bwMode="auto">
              <a:xfrm>
                <a:off x="6079590" y="1440047"/>
                <a:ext cx="739244" cy="739244"/>
              </a:xfrm>
              <a:prstGeom prst="rect">
                <a:avLst/>
              </a:prstGeom>
              <a:noFill/>
              <a:ln w="19050">
                <a:noFill/>
                <a:round/>
                <a:headEnd/>
                <a:tailEnd/>
              </a:ln>
            </p:spPr>
            <p:txBody>
              <a:bodyPr rot="0" spcFirstLastPara="0" vert="horz" wrap="square" lIns="91440" tIns="45720" rIns="91440" bIns="45720" anchor="ctr" anchorCtr="0" forceAA="0" compatLnSpc="1">
                <a:prstTxWarp prst="textNoShape">
                  <a:avLst/>
                </a:prstTxWarp>
                <a:normAutofit/>
              </a:bodyPr>
              <a:lstStyle/>
              <a:p>
                <a:pPr algn="ctr"/>
                <a:r>
                  <a:rPr lang="en-US" altLang="zh-CN" sz="2800" dirty="0">
                    <a:solidFill>
                      <a:schemeClr val="bg1">
                        <a:lumMod val="65000"/>
                      </a:schemeClr>
                    </a:solidFill>
                    <a:latin typeface="等线 Light" panose="02010600030101010101" pitchFamily="2" charset="-122"/>
                    <a:ea typeface="等线 Light" panose="02010600030101010101" pitchFamily="2" charset="-122"/>
                  </a:rPr>
                  <a:t>01</a:t>
                </a:r>
              </a:p>
            </p:txBody>
          </p:sp>
          <p:sp>
            <p:nvSpPr>
              <p:cNvPr id="31" name="矩形 30">
                <a:extLst>
                  <a:ext uri="{FF2B5EF4-FFF2-40B4-BE49-F238E27FC236}">
                    <a16:creationId xmlns:a16="http://schemas.microsoft.com/office/drawing/2014/main" id="{F8E07573-A8E5-42F7-B445-E2E8E3B47ABD}"/>
                  </a:ext>
                </a:extLst>
              </p:cNvPr>
              <p:cNvSpPr/>
              <p:nvPr/>
            </p:nvSpPr>
            <p:spPr bwMode="auto">
              <a:xfrm>
                <a:off x="7368467" y="1379079"/>
                <a:ext cx="3764132" cy="861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en-US" altLang="zh-CN" b="1" dirty="0">
                    <a:latin typeface="Calibri" panose="020F0502020204030204" pitchFamily="34" charset="0"/>
                    <a:ea typeface="Calibri" panose="020F0502020204030204" pitchFamily="34" charset="0"/>
                    <a:cs typeface="Calibri" panose="020F0502020204030204" pitchFamily="34" charset="0"/>
                  </a:rPr>
                  <a:t>Object-Oriented Programming (OOP) Principles</a:t>
                </a:r>
              </a:p>
            </p:txBody>
          </p:sp>
        </p:grpSp>
        <p:grpSp>
          <p:nvGrpSpPr>
            <p:cNvPr id="5" name="组合 4">
              <a:extLst>
                <a:ext uri="{FF2B5EF4-FFF2-40B4-BE49-F238E27FC236}">
                  <a16:creationId xmlns:a16="http://schemas.microsoft.com/office/drawing/2014/main" id="{CA5B6B12-8362-4A88-95E2-6ED8DA8F9249}"/>
                </a:ext>
              </a:extLst>
            </p:cNvPr>
            <p:cNvGrpSpPr/>
            <p:nvPr/>
          </p:nvGrpSpPr>
          <p:grpSpPr>
            <a:xfrm>
              <a:off x="6079590" y="2373086"/>
              <a:ext cx="5053009" cy="861180"/>
              <a:chOff x="6079590" y="1379079"/>
              <a:chExt cx="5053009" cy="861180"/>
            </a:xfrm>
          </p:grpSpPr>
          <p:grpSp>
            <p:nvGrpSpPr>
              <p:cNvPr id="24" name="组合 23">
                <a:extLst>
                  <a:ext uri="{FF2B5EF4-FFF2-40B4-BE49-F238E27FC236}">
                    <a16:creationId xmlns:a16="http://schemas.microsoft.com/office/drawing/2014/main" id="{F769CFDC-F62A-4D35-8EDB-003FEE27C473}"/>
                  </a:ext>
                </a:extLst>
              </p:cNvPr>
              <p:cNvGrpSpPr/>
              <p:nvPr/>
            </p:nvGrpSpPr>
            <p:grpSpPr>
              <a:xfrm>
                <a:off x="6916519" y="1692607"/>
                <a:ext cx="194460" cy="234124"/>
                <a:chOff x="6932220" y="2026513"/>
                <a:chExt cx="194460" cy="234124"/>
              </a:xfrm>
            </p:grpSpPr>
            <p:sp>
              <p:nvSpPr>
                <p:cNvPr id="27" name="任意多边形: 形状 26">
                  <a:extLst>
                    <a:ext uri="{FF2B5EF4-FFF2-40B4-BE49-F238E27FC236}">
                      <a16:creationId xmlns:a16="http://schemas.microsoft.com/office/drawing/2014/main" id="{5A83D0E9-69D6-4DDA-B8E6-EC32CDE48C14}"/>
                    </a:ext>
                  </a:extLst>
                </p:cNvPr>
                <p:cNvSpPr/>
                <p:nvPr/>
              </p:nvSpPr>
              <p:spPr bwMode="auto">
                <a:xfrm>
                  <a:off x="6932220" y="2026513"/>
                  <a:ext cx="194460" cy="155899"/>
                </a:xfrm>
                <a:custGeom>
                  <a:avLst/>
                  <a:gdLst>
                    <a:gd name="T0" fmla="*/ 0 w 353"/>
                    <a:gd name="T1" fmla="*/ 0 h 283"/>
                    <a:gd name="T2" fmla="*/ 282 w 353"/>
                    <a:gd name="T3" fmla="*/ 283 h 283"/>
                    <a:gd name="T4" fmla="*/ 353 w 353"/>
                    <a:gd name="T5" fmla="*/ 212 h 283"/>
                    <a:gd name="T6" fmla="*/ 141 w 353"/>
                    <a:gd name="T7" fmla="*/ 0 h 283"/>
                    <a:gd name="T8" fmla="*/ 0 w 353"/>
                    <a:gd name="T9" fmla="*/ 0 h 283"/>
                  </a:gdLst>
                  <a:ahLst/>
                  <a:cxnLst>
                    <a:cxn ang="0">
                      <a:pos x="T0" y="T1"/>
                    </a:cxn>
                    <a:cxn ang="0">
                      <a:pos x="T2" y="T3"/>
                    </a:cxn>
                    <a:cxn ang="0">
                      <a:pos x="T4" y="T5"/>
                    </a:cxn>
                    <a:cxn ang="0">
                      <a:pos x="T6" y="T7"/>
                    </a:cxn>
                    <a:cxn ang="0">
                      <a:pos x="T8" y="T9"/>
                    </a:cxn>
                  </a:cxnLst>
                  <a:rect l="0" t="0" r="r" b="b"/>
                  <a:pathLst>
                    <a:path w="353" h="283">
                      <a:moveTo>
                        <a:pt x="0" y="0"/>
                      </a:moveTo>
                      <a:lnTo>
                        <a:pt x="282" y="283"/>
                      </a:lnTo>
                      <a:lnTo>
                        <a:pt x="353" y="212"/>
                      </a:lnTo>
                      <a:lnTo>
                        <a:pt x="141" y="0"/>
                      </a:lnTo>
                      <a:lnTo>
                        <a:pt x="0" y="0"/>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normAutofit fontScale="40000" lnSpcReduction="20000"/>
                </a:bodyPr>
                <a:lstStyle>
                  <a:defPPr>
                    <a:defRPr lang="id-ID"/>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id-ID"/>
                </a:p>
              </p:txBody>
            </p:sp>
            <p:sp>
              <p:nvSpPr>
                <p:cNvPr id="28" name="任意多边形: 形状 27">
                  <a:extLst>
                    <a:ext uri="{FF2B5EF4-FFF2-40B4-BE49-F238E27FC236}">
                      <a16:creationId xmlns:a16="http://schemas.microsoft.com/office/drawing/2014/main" id="{34316D51-5424-4E15-A978-94666E8CDFBA}"/>
                    </a:ext>
                  </a:extLst>
                </p:cNvPr>
                <p:cNvSpPr/>
                <p:nvPr/>
              </p:nvSpPr>
              <p:spPr bwMode="auto">
                <a:xfrm>
                  <a:off x="6932220" y="2104738"/>
                  <a:ext cx="194460" cy="155899"/>
                </a:xfrm>
                <a:custGeom>
                  <a:avLst/>
                  <a:gdLst>
                    <a:gd name="T0" fmla="*/ 0 w 353"/>
                    <a:gd name="T1" fmla="*/ 283 h 283"/>
                    <a:gd name="T2" fmla="*/ 282 w 353"/>
                    <a:gd name="T3" fmla="*/ 0 h 283"/>
                    <a:gd name="T4" fmla="*/ 353 w 353"/>
                    <a:gd name="T5" fmla="*/ 71 h 283"/>
                    <a:gd name="T6" fmla="*/ 141 w 353"/>
                    <a:gd name="T7" fmla="*/ 283 h 283"/>
                    <a:gd name="T8" fmla="*/ 0 w 353"/>
                    <a:gd name="T9" fmla="*/ 283 h 283"/>
                  </a:gdLst>
                  <a:ahLst/>
                  <a:cxnLst>
                    <a:cxn ang="0">
                      <a:pos x="T0" y="T1"/>
                    </a:cxn>
                    <a:cxn ang="0">
                      <a:pos x="T2" y="T3"/>
                    </a:cxn>
                    <a:cxn ang="0">
                      <a:pos x="T4" y="T5"/>
                    </a:cxn>
                    <a:cxn ang="0">
                      <a:pos x="T6" y="T7"/>
                    </a:cxn>
                    <a:cxn ang="0">
                      <a:pos x="T8" y="T9"/>
                    </a:cxn>
                  </a:cxnLst>
                  <a:rect l="0" t="0" r="r" b="b"/>
                  <a:pathLst>
                    <a:path w="353" h="283">
                      <a:moveTo>
                        <a:pt x="0" y="283"/>
                      </a:moveTo>
                      <a:lnTo>
                        <a:pt x="282" y="0"/>
                      </a:lnTo>
                      <a:lnTo>
                        <a:pt x="353" y="71"/>
                      </a:lnTo>
                      <a:lnTo>
                        <a:pt x="141" y="283"/>
                      </a:lnTo>
                      <a:lnTo>
                        <a:pt x="0" y="283"/>
                      </a:lnTo>
                      <a:close/>
                    </a:path>
                  </a:pathLst>
                </a:custGeom>
                <a:solidFill>
                  <a:schemeClr val="accent1"/>
                </a:solidFill>
                <a:ln>
                  <a:noFill/>
                </a:ln>
              </p:spPr>
              <p:txBody>
                <a:bodyPr vert="horz" wrap="square" lIns="91440" tIns="45720" rIns="91440" bIns="45720" numCol="1" anchor="t" anchorCtr="0" compatLnSpc="1">
                  <a:prstTxWarp prst="textNoShape">
                    <a:avLst/>
                  </a:prstTxWarp>
                  <a:normAutofit fontScale="40000" lnSpcReduction="20000"/>
                </a:bodyPr>
                <a:lstStyle>
                  <a:defPPr>
                    <a:defRPr lang="id-ID"/>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id-ID"/>
                </a:p>
              </p:txBody>
            </p:sp>
          </p:grpSp>
          <p:sp>
            <p:nvSpPr>
              <p:cNvPr id="25" name="矩形 24">
                <a:extLst>
                  <a:ext uri="{FF2B5EF4-FFF2-40B4-BE49-F238E27FC236}">
                    <a16:creationId xmlns:a16="http://schemas.microsoft.com/office/drawing/2014/main" id="{E709B91D-7F24-4B51-969D-56245AC1600A}"/>
                  </a:ext>
                </a:extLst>
              </p:cNvPr>
              <p:cNvSpPr/>
              <p:nvPr/>
            </p:nvSpPr>
            <p:spPr bwMode="auto">
              <a:xfrm>
                <a:off x="6079590" y="1440047"/>
                <a:ext cx="739244" cy="739244"/>
              </a:xfrm>
              <a:prstGeom prst="rect">
                <a:avLst/>
              </a:prstGeom>
              <a:noFill/>
              <a:ln w="19050">
                <a:noFill/>
                <a:round/>
                <a:headEnd/>
                <a:tailEnd/>
              </a:ln>
            </p:spPr>
            <p:txBody>
              <a:bodyPr rot="0" spcFirstLastPara="0" vert="horz" wrap="square" lIns="91440" tIns="45720" rIns="91440" bIns="45720" anchor="ctr" anchorCtr="0" forceAA="0" compatLnSpc="1">
                <a:prstTxWarp prst="textNoShape">
                  <a:avLst/>
                </a:prstTxWarp>
                <a:normAutofit/>
              </a:bodyPr>
              <a:lstStyle/>
              <a:p>
                <a:pPr algn="ctr"/>
                <a:r>
                  <a:rPr lang="en-US" altLang="zh-CN" sz="2800" dirty="0">
                    <a:solidFill>
                      <a:schemeClr val="bg1">
                        <a:lumMod val="65000"/>
                      </a:schemeClr>
                    </a:solidFill>
                    <a:latin typeface="等线 Light" panose="02010600030101010101" pitchFamily="2" charset="-122"/>
                    <a:ea typeface="等线 Light" panose="02010600030101010101" pitchFamily="2" charset="-122"/>
                  </a:rPr>
                  <a:t>02</a:t>
                </a:r>
              </a:p>
            </p:txBody>
          </p:sp>
          <p:sp>
            <p:nvSpPr>
              <p:cNvPr id="26" name="矩形 25">
                <a:extLst>
                  <a:ext uri="{FF2B5EF4-FFF2-40B4-BE49-F238E27FC236}">
                    <a16:creationId xmlns:a16="http://schemas.microsoft.com/office/drawing/2014/main" id="{F8E07573-A8E5-42F7-B445-E2E8E3B47ABD}"/>
                  </a:ext>
                </a:extLst>
              </p:cNvPr>
              <p:cNvSpPr/>
              <p:nvPr/>
            </p:nvSpPr>
            <p:spPr bwMode="auto">
              <a:xfrm>
                <a:off x="7368467" y="1379079"/>
                <a:ext cx="3764132" cy="861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en-US" altLang="zh-CN" b="1" dirty="0">
                    <a:latin typeface="Calibri" panose="020F0502020204030204" pitchFamily="34" charset="0"/>
                    <a:ea typeface="Calibri" panose="020F0502020204030204" pitchFamily="34" charset="0"/>
                    <a:cs typeface="Calibri" panose="020F0502020204030204" pitchFamily="34" charset="0"/>
                  </a:rPr>
                  <a:t>Monster Algorithm</a:t>
                </a:r>
              </a:p>
            </p:txBody>
          </p:sp>
        </p:grpSp>
        <p:grpSp>
          <p:nvGrpSpPr>
            <p:cNvPr id="6" name="组合 5">
              <a:extLst>
                <a:ext uri="{FF2B5EF4-FFF2-40B4-BE49-F238E27FC236}">
                  <a16:creationId xmlns:a16="http://schemas.microsoft.com/office/drawing/2014/main" id="{CF26E86F-D59F-489C-BD4B-F2F0902D2FC7}"/>
                </a:ext>
              </a:extLst>
            </p:cNvPr>
            <p:cNvGrpSpPr/>
            <p:nvPr/>
          </p:nvGrpSpPr>
          <p:grpSpPr>
            <a:xfrm>
              <a:off x="6079590" y="3201610"/>
              <a:ext cx="5053009" cy="861180"/>
              <a:chOff x="6079590" y="1379079"/>
              <a:chExt cx="5053009" cy="861180"/>
            </a:xfrm>
          </p:grpSpPr>
          <p:grpSp>
            <p:nvGrpSpPr>
              <p:cNvPr id="19" name="组合 18">
                <a:extLst>
                  <a:ext uri="{FF2B5EF4-FFF2-40B4-BE49-F238E27FC236}">
                    <a16:creationId xmlns:a16="http://schemas.microsoft.com/office/drawing/2014/main" id="{7142D824-5727-47E7-B628-710927808445}"/>
                  </a:ext>
                </a:extLst>
              </p:cNvPr>
              <p:cNvGrpSpPr/>
              <p:nvPr/>
            </p:nvGrpSpPr>
            <p:grpSpPr>
              <a:xfrm>
                <a:off x="6916519" y="1692607"/>
                <a:ext cx="194460" cy="234124"/>
                <a:chOff x="6932220" y="2026513"/>
                <a:chExt cx="194460" cy="234124"/>
              </a:xfrm>
            </p:grpSpPr>
            <p:sp>
              <p:nvSpPr>
                <p:cNvPr id="22" name="任意多边形: 形状 21">
                  <a:extLst>
                    <a:ext uri="{FF2B5EF4-FFF2-40B4-BE49-F238E27FC236}">
                      <a16:creationId xmlns:a16="http://schemas.microsoft.com/office/drawing/2014/main" id="{FD15D70C-DB14-4984-8F45-5EB33DFFF8DF}"/>
                    </a:ext>
                  </a:extLst>
                </p:cNvPr>
                <p:cNvSpPr/>
                <p:nvPr/>
              </p:nvSpPr>
              <p:spPr bwMode="auto">
                <a:xfrm>
                  <a:off x="6932220" y="2026513"/>
                  <a:ext cx="194460" cy="155899"/>
                </a:xfrm>
                <a:custGeom>
                  <a:avLst/>
                  <a:gdLst>
                    <a:gd name="T0" fmla="*/ 0 w 353"/>
                    <a:gd name="T1" fmla="*/ 0 h 283"/>
                    <a:gd name="T2" fmla="*/ 282 w 353"/>
                    <a:gd name="T3" fmla="*/ 283 h 283"/>
                    <a:gd name="T4" fmla="*/ 353 w 353"/>
                    <a:gd name="T5" fmla="*/ 212 h 283"/>
                    <a:gd name="T6" fmla="*/ 141 w 353"/>
                    <a:gd name="T7" fmla="*/ 0 h 283"/>
                    <a:gd name="T8" fmla="*/ 0 w 353"/>
                    <a:gd name="T9" fmla="*/ 0 h 283"/>
                  </a:gdLst>
                  <a:ahLst/>
                  <a:cxnLst>
                    <a:cxn ang="0">
                      <a:pos x="T0" y="T1"/>
                    </a:cxn>
                    <a:cxn ang="0">
                      <a:pos x="T2" y="T3"/>
                    </a:cxn>
                    <a:cxn ang="0">
                      <a:pos x="T4" y="T5"/>
                    </a:cxn>
                    <a:cxn ang="0">
                      <a:pos x="T6" y="T7"/>
                    </a:cxn>
                    <a:cxn ang="0">
                      <a:pos x="T8" y="T9"/>
                    </a:cxn>
                  </a:cxnLst>
                  <a:rect l="0" t="0" r="r" b="b"/>
                  <a:pathLst>
                    <a:path w="353" h="283">
                      <a:moveTo>
                        <a:pt x="0" y="0"/>
                      </a:moveTo>
                      <a:lnTo>
                        <a:pt x="282" y="283"/>
                      </a:lnTo>
                      <a:lnTo>
                        <a:pt x="353" y="212"/>
                      </a:lnTo>
                      <a:lnTo>
                        <a:pt x="141" y="0"/>
                      </a:lnTo>
                      <a:lnTo>
                        <a:pt x="0" y="0"/>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normAutofit fontScale="40000" lnSpcReduction="20000"/>
                </a:bodyPr>
                <a:lstStyle>
                  <a:defPPr>
                    <a:defRPr lang="id-ID"/>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id-ID"/>
                </a:p>
              </p:txBody>
            </p:sp>
            <p:sp>
              <p:nvSpPr>
                <p:cNvPr id="23" name="任意多边形: 形状 22">
                  <a:extLst>
                    <a:ext uri="{FF2B5EF4-FFF2-40B4-BE49-F238E27FC236}">
                      <a16:creationId xmlns:a16="http://schemas.microsoft.com/office/drawing/2014/main" id="{4E2C367E-14B6-463B-B748-F12410EF61B3}"/>
                    </a:ext>
                  </a:extLst>
                </p:cNvPr>
                <p:cNvSpPr/>
                <p:nvPr/>
              </p:nvSpPr>
              <p:spPr bwMode="auto">
                <a:xfrm>
                  <a:off x="6932220" y="2104738"/>
                  <a:ext cx="194460" cy="155899"/>
                </a:xfrm>
                <a:custGeom>
                  <a:avLst/>
                  <a:gdLst>
                    <a:gd name="T0" fmla="*/ 0 w 353"/>
                    <a:gd name="T1" fmla="*/ 283 h 283"/>
                    <a:gd name="T2" fmla="*/ 282 w 353"/>
                    <a:gd name="T3" fmla="*/ 0 h 283"/>
                    <a:gd name="T4" fmla="*/ 353 w 353"/>
                    <a:gd name="T5" fmla="*/ 71 h 283"/>
                    <a:gd name="T6" fmla="*/ 141 w 353"/>
                    <a:gd name="T7" fmla="*/ 283 h 283"/>
                    <a:gd name="T8" fmla="*/ 0 w 353"/>
                    <a:gd name="T9" fmla="*/ 283 h 283"/>
                  </a:gdLst>
                  <a:ahLst/>
                  <a:cxnLst>
                    <a:cxn ang="0">
                      <a:pos x="T0" y="T1"/>
                    </a:cxn>
                    <a:cxn ang="0">
                      <a:pos x="T2" y="T3"/>
                    </a:cxn>
                    <a:cxn ang="0">
                      <a:pos x="T4" y="T5"/>
                    </a:cxn>
                    <a:cxn ang="0">
                      <a:pos x="T6" y="T7"/>
                    </a:cxn>
                    <a:cxn ang="0">
                      <a:pos x="T8" y="T9"/>
                    </a:cxn>
                  </a:cxnLst>
                  <a:rect l="0" t="0" r="r" b="b"/>
                  <a:pathLst>
                    <a:path w="353" h="283">
                      <a:moveTo>
                        <a:pt x="0" y="283"/>
                      </a:moveTo>
                      <a:lnTo>
                        <a:pt x="282" y="0"/>
                      </a:lnTo>
                      <a:lnTo>
                        <a:pt x="353" y="71"/>
                      </a:lnTo>
                      <a:lnTo>
                        <a:pt x="141" y="283"/>
                      </a:lnTo>
                      <a:lnTo>
                        <a:pt x="0" y="283"/>
                      </a:lnTo>
                      <a:close/>
                    </a:path>
                  </a:pathLst>
                </a:custGeom>
                <a:solidFill>
                  <a:schemeClr val="accent1"/>
                </a:solidFill>
                <a:ln>
                  <a:noFill/>
                </a:ln>
              </p:spPr>
              <p:txBody>
                <a:bodyPr vert="horz" wrap="square" lIns="91440" tIns="45720" rIns="91440" bIns="45720" numCol="1" anchor="t" anchorCtr="0" compatLnSpc="1">
                  <a:prstTxWarp prst="textNoShape">
                    <a:avLst/>
                  </a:prstTxWarp>
                  <a:normAutofit fontScale="40000" lnSpcReduction="20000"/>
                </a:bodyPr>
                <a:lstStyle>
                  <a:defPPr>
                    <a:defRPr lang="id-ID"/>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id-ID"/>
                </a:p>
              </p:txBody>
            </p:sp>
          </p:grpSp>
          <p:sp>
            <p:nvSpPr>
              <p:cNvPr id="20" name="矩形 19">
                <a:extLst>
                  <a:ext uri="{FF2B5EF4-FFF2-40B4-BE49-F238E27FC236}">
                    <a16:creationId xmlns:a16="http://schemas.microsoft.com/office/drawing/2014/main" id="{E709B91D-7F24-4B51-969D-56245AC1600A}"/>
                  </a:ext>
                </a:extLst>
              </p:cNvPr>
              <p:cNvSpPr/>
              <p:nvPr/>
            </p:nvSpPr>
            <p:spPr bwMode="auto">
              <a:xfrm>
                <a:off x="6079590" y="1440047"/>
                <a:ext cx="739244" cy="739244"/>
              </a:xfrm>
              <a:prstGeom prst="rect">
                <a:avLst/>
              </a:prstGeom>
              <a:noFill/>
              <a:ln w="19050">
                <a:noFill/>
                <a:round/>
                <a:headEnd/>
                <a:tailEnd/>
              </a:ln>
            </p:spPr>
            <p:txBody>
              <a:bodyPr rot="0" spcFirstLastPara="0" vert="horz" wrap="square" lIns="91440" tIns="45720" rIns="91440" bIns="45720" anchor="ctr" anchorCtr="0" forceAA="0" compatLnSpc="1">
                <a:prstTxWarp prst="textNoShape">
                  <a:avLst/>
                </a:prstTxWarp>
                <a:normAutofit/>
              </a:bodyPr>
              <a:lstStyle/>
              <a:p>
                <a:pPr algn="ctr"/>
                <a:r>
                  <a:rPr lang="en-US" altLang="zh-CN" sz="2800" dirty="0">
                    <a:solidFill>
                      <a:schemeClr val="bg1">
                        <a:lumMod val="65000"/>
                      </a:schemeClr>
                    </a:solidFill>
                    <a:latin typeface="等线 Light" panose="02010600030101010101" pitchFamily="2" charset="-122"/>
                    <a:ea typeface="等线 Light" panose="02010600030101010101" pitchFamily="2" charset="-122"/>
                  </a:rPr>
                  <a:t>03</a:t>
                </a:r>
              </a:p>
            </p:txBody>
          </p:sp>
          <p:sp>
            <p:nvSpPr>
              <p:cNvPr id="21" name="矩形 20">
                <a:extLst>
                  <a:ext uri="{FF2B5EF4-FFF2-40B4-BE49-F238E27FC236}">
                    <a16:creationId xmlns:a16="http://schemas.microsoft.com/office/drawing/2014/main" id="{F8E07573-A8E5-42F7-B445-E2E8E3B47ABD}"/>
                  </a:ext>
                </a:extLst>
              </p:cNvPr>
              <p:cNvSpPr/>
              <p:nvPr/>
            </p:nvSpPr>
            <p:spPr bwMode="auto">
              <a:xfrm>
                <a:off x="7368467" y="1379079"/>
                <a:ext cx="3764132" cy="861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Monster Algorithm Analysis</a:t>
                </a:r>
              </a:p>
            </p:txBody>
          </p:sp>
        </p:grpSp>
        <p:grpSp>
          <p:nvGrpSpPr>
            <p:cNvPr id="7" name="组合 6">
              <a:extLst>
                <a:ext uri="{FF2B5EF4-FFF2-40B4-BE49-F238E27FC236}">
                  <a16:creationId xmlns:a16="http://schemas.microsoft.com/office/drawing/2014/main" id="{4C386F2B-2606-4E23-A2DB-73FA55F6BD48}"/>
                </a:ext>
              </a:extLst>
            </p:cNvPr>
            <p:cNvGrpSpPr/>
            <p:nvPr/>
          </p:nvGrpSpPr>
          <p:grpSpPr>
            <a:xfrm>
              <a:off x="6079590" y="4030134"/>
              <a:ext cx="5053009" cy="861180"/>
              <a:chOff x="6079590" y="1379079"/>
              <a:chExt cx="5053009" cy="861180"/>
            </a:xfrm>
          </p:grpSpPr>
          <p:grpSp>
            <p:nvGrpSpPr>
              <p:cNvPr id="14" name="组合 13">
                <a:extLst>
                  <a:ext uri="{FF2B5EF4-FFF2-40B4-BE49-F238E27FC236}">
                    <a16:creationId xmlns:a16="http://schemas.microsoft.com/office/drawing/2014/main" id="{E570A626-D0C3-4FCA-915B-7C1E51F4AB66}"/>
                  </a:ext>
                </a:extLst>
              </p:cNvPr>
              <p:cNvGrpSpPr/>
              <p:nvPr/>
            </p:nvGrpSpPr>
            <p:grpSpPr>
              <a:xfrm>
                <a:off x="6916519" y="1692607"/>
                <a:ext cx="194460" cy="234124"/>
                <a:chOff x="6932220" y="2026513"/>
                <a:chExt cx="194460" cy="234124"/>
              </a:xfrm>
            </p:grpSpPr>
            <p:sp>
              <p:nvSpPr>
                <p:cNvPr id="17" name="任意多边形: 形状 16">
                  <a:extLst>
                    <a:ext uri="{FF2B5EF4-FFF2-40B4-BE49-F238E27FC236}">
                      <a16:creationId xmlns:a16="http://schemas.microsoft.com/office/drawing/2014/main" id="{C4EB82FD-B1A6-4FCD-836B-191E6472BB86}"/>
                    </a:ext>
                  </a:extLst>
                </p:cNvPr>
                <p:cNvSpPr/>
                <p:nvPr/>
              </p:nvSpPr>
              <p:spPr bwMode="auto">
                <a:xfrm>
                  <a:off x="6932220" y="2026513"/>
                  <a:ext cx="194460" cy="155899"/>
                </a:xfrm>
                <a:custGeom>
                  <a:avLst/>
                  <a:gdLst>
                    <a:gd name="T0" fmla="*/ 0 w 353"/>
                    <a:gd name="T1" fmla="*/ 0 h 283"/>
                    <a:gd name="T2" fmla="*/ 282 w 353"/>
                    <a:gd name="T3" fmla="*/ 283 h 283"/>
                    <a:gd name="T4" fmla="*/ 353 w 353"/>
                    <a:gd name="T5" fmla="*/ 212 h 283"/>
                    <a:gd name="T6" fmla="*/ 141 w 353"/>
                    <a:gd name="T7" fmla="*/ 0 h 283"/>
                    <a:gd name="T8" fmla="*/ 0 w 353"/>
                    <a:gd name="T9" fmla="*/ 0 h 283"/>
                  </a:gdLst>
                  <a:ahLst/>
                  <a:cxnLst>
                    <a:cxn ang="0">
                      <a:pos x="T0" y="T1"/>
                    </a:cxn>
                    <a:cxn ang="0">
                      <a:pos x="T2" y="T3"/>
                    </a:cxn>
                    <a:cxn ang="0">
                      <a:pos x="T4" y="T5"/>
                    </a:cxn>
                    <a:cxn ang="0">
                      <a:pos x="T6" y="T7"/>
                    </a:cxn>
                    <a:cxn ang="0">
                      <a:pos x="T8" y="T9"/>
                    </a:cxn>
                  </a:cxnLst>
                  <a:rect l="0" t="0" r="r" b="b"/>
                  <a:pathLst>
                    <a:path w="353" h="283">
                      <a:moveTo>
                        <a:pt x="0" y="0"/>
                      </a:moveTo>
                      <a:lnTo>
                        <a:pt x="282" y="283"/>
                      </a:lnTo>
                      <a:lnTo>
                        <a:pt x="353" y="212"/>
                      </a:lnTo>
                      <a:lnTo>
                        <a:pt x="141" y="0"/>
                      </a:lnTo>
                      <a:lnTo>
                        <a:pt x="0" y="0"/>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normAutofit fontScale="40000" lnSpcReduction="20000"/>
                </a:bodyPr>
                <a:lstStyle>
                  <a:defPPr>
                    <a:defRPr lang="id-ID"/>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id-ID"/>
                </a:p>
              </p:txBody>
            </p:sp>
            <p:sp>
              <p:nvSpPr>
                <p:cNvPr id="18" name="任意多边形: 形状 17">
                  <a:extLst>
                    <a:ext uri="{FF2B5EF4-FFF2-40B4-BE49-F238E27FC236}">
                      <a16:creationId xmlns:a16="http://schemas.microsoft.com/office/drawing/2014/main" id="{30DEC520-9600-4271-A81F-9440A676F2E5}"/>
                    </a:ext>
                  </a:extLst>
                </p:cNvPr>
                <p:cNvSpPr/>
                <p:nvPr/>
              </p:nvSpPr>
              <p:spPr bwMode="auto">
                <a:xfrm>
                  <a:off x="6932220" y="2104738"/>
                  <a:ext cx="194460" cy="155899"/>
                </a:xfrm>
                <a:custGeom>
                  <a:avLst/>
                  <a:gdLst>
                    <a:gd name="T0" fmla="*/ 0 w 353"/>
                    <a:gd name="T1" fmla="*/ 283 h 283"/>
                    <a:gd name="T2" fmla="*/ 282 w 353"/>
                    <a:gd name="T3" fmla="*/ 0 h 283"/>
                    <a:gd name="T4" fmla="*/ 353 w 353"/>
                    <a:gd name="T5" fmla="*/ 71 h 283"/>
                    <a:gd name="T6" fmla="*/ 141 w 353"/>
                    <a:gd name="T7" fmla="*/ 283 h 283"/>
                    <a:gd name="T8" fmla="*/ 0 w 353"/>
                    <a:gd name="T9" fmla="*/ 283 h 283"/>
                  </a:gdLst>
                  <a:ahLst/>
                  <a:cxnLst>
                    <a:cxn ang="0">
                      <a:pos x="T0" y="T1"/>
                    </a:cxn>
                    <a:cxn ang="0">
                      <a:pos x="T2" y="T3"/>
                    </a:cxn>
                    <a:cxn ang="0">
                      <a:pos x="T4" y="T5"/>
                    </a:cxn>
                    <a:cxn ang="0">
                      <a:pos x="T6" y="T7"/>
                    </a:cxn>
                    <a:cxn ang="0">
                      <a:pos x="T8" y="T9"/>
                    </a:cxn>
                  </a:cxnLst>
                  <a:rect l="0" t="0" r="r" b="b"/>
                  <a:pathLst>
                    <a:path w="353" h="283">
                      <a:moveTo>
                        <a:pt x="0" y="283"/>
                      </a:moveTo>
                      <a:lnTo>
                        <a:pt x="282" y="0"/>
                      </a:lnTo>
                      <a:lnTo>
                        <a:pt x="353" y="71"/>
                      </a:lnTo>
                      <a:lnTo>
                        <a:pt x="141" y="283"/>
                      </a:lnTo>
                      <a:lnTo>
                        <a:pt x="0" y="283"/>
                      </a:lnTo>
                      <a:close/>
                    </a:path>
                  </a:pathLst>
                </a:custGeom>
                <a:solidFill>
                  <a:schemeClr val="accent1"/>
                </a:solidFill>
                <a:ln>
                  <a:noFill/>
                </a:ln>
              </p:spPr>
              <p:txBody>
                <a:bodyPr vert="horz" wrap="square" lIns="91440" tIns="45720" rIns="91440" bIns="45720" numCol="1" anchor="t" anchorCtr="0" compatLnSpc="1">
                  <a:prstTxWarp prst="textNoShape">
                    <a:avLst/>
                  </a:prstTxWarp>
                  <a:normAutofit fontScale="40000" lnSpcReduction="20000"/>
                </a:bodyPr>
                <a:lstStyle>
                  <a:defPPr>
                    <a:defRPr lang="id-ID"/>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id-ID"/>
                </a:p>
              </p:txBody>
            </p:sp>
          </p:grpSp>
          <p:sp>
            <p:nvSpPr>
              <p:cNvPr id="15" name="矩形 14">
                <a:extLst>
                  <a:ext uri="{FF2B5EF4-FFF2-40B4-BE49-F238E27FC236}">
                    <a16:creationId xmlns:a16="http://schemas.microsoft.com/office/drawing/2014/main" id="{E709B91D-7F24-4B51-969D-56245AC1600A}"/>
                  </a:ext>
                </a:extLst>
              </p:cNvPr>
              <p:cNvSpPr/>
              <p:nvPr/>
            </p:nvSpPr>
            <p:spPr bwMode="auto">
              <a:xfrm>
                <a:off x="6079590" y="1440047"/>
                <a:ext cx="739244" cy="739244"/>
              </a:xfrm>
              <a:prstGeom prst="rect">
                <a:avLst/>
              </a:prstGeom>
              <a:noFill/>
              <a:ln w="19050">
                <a:noFill/>
                <a:round/>
                <a:headEnd/>
                <a:tailEnd/>
              </a:ln>
            </p:spPr>
            <p:txBody>
              <a:bodyPr rot="0" spcFirstLastPara="0" vert="horz" wrap="square" lIns="91440" tIns="45720" rIns="91440" bIns="45720" anchor="ctr" anchorCtr="0" forceAA="0" compatLnSpc="1">
                <a:prstTxWarp prst="textNoShape">
                  <a:avLst/>
                </a:prstTxWarp>
                <a:normAutofit/>
              </a:bodyPr>
              <a:lstStyle/>
              <a:p>
                <a:pPr algn="ctr"/>
                <a:r>
                  <a:rPr lang="en-US" altLang="zh-CN" sz="2800" dirty="0">
                    <a:solidFill>
                      <a:schemeClr val="bg1">
                        <a:lumMod val="65000"/>
                      </a:schemeClr>
                    </a:solidFill>
                    <a:latin typeface="等线 Light" panose="02010600030101010101" pitchFamily="2" charset="-122"/>
                    <a:ea typeface="等线 Light" panose="02010600030101010101" pitchFamily="2" charset="-122"/>
                  </a:rPr>
                  <a:t>04</a:t>
                </a:r>
              </a:p>
            </p:txBody>
          </p:sp>
          <p:sp>
            <p:nvSpPr>
              <p:cNvPr id="16" name="矩形 15">
                <a:extLst>
                  <a:ext uri="{FF2B5EF4-FFF2-40B4-BE49-F238E27FC236}">
                    <a16:creationId xmlns:a16="http://schemas.microsoft.com/office/drawing/2014/main" id="{F8E07573-A8E5-42F7-B445-E2E8E3B47ABD}"/>
                  </a:ext>
                </a:extLst>
              </p:cNvPr>
              <p:cNvSpPr/>
              <p:nvPr/>
            </p:nvSpPr>
            <p:spPr bwMode="auto">
              <a:xfrm>
                <a:off x="7368467" y="1379079"/>
                <a:ext cx="3764132" cy="861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Rogue Algorithm</a:t>
                </a:r>
              </a:p>
            </p:txBody>
          </p:sp>
        </p:grpSp>
        <p:grpSp>
          <p:nvGrpSpPr>
            <p:cNvPr id="8" name="组合 7">
              <a:extLst>
                <a:ext uri="{FF2B5EF4-FFF2-40B4-BE49-F238E27FC236}">
                  <a16:creationId xmlns:a16="http://schemas.microsoft.com/office/drawing/2014/main" id="{7F89F84E-1223-4E45-96EF-F4C42E784F2A}"/>
                </a:ext>
              </a:extLst>
            </p:cNvPr>
            <p:cNvGrpSpPr/>
            <p:nvPr/>
          </p:nvGrpSpPr>
          <p:grpSpPr>
            <a:xfrm>
              <a:off x="6079590" y="4858658"/>
              <a:ext cx="5053009" cy="861180"/>
              <a:chOff x="6079590" y="1379079"/>
              <a:chExt cx="5053009" cy="861180"/>
            </a:xfrm>
          </p:grpSpPr>
          <p:grpSp>
            <p:nvGrpSpPr>
              <p:cNvPr id="9" name="组合 8">
                <a:extLst>
                  <a:ext uri="{FF2B5EF4-FFF2-40B4-BE49-F238E27FC236}">
                    <a16:creationId xmlns:a16="http://schemas.microsoft.com/office/drawing/2014/main" id="{42AA5ADB-0557-4B39-85E4-670F4E59A700}"/>
                  </a:ext>
                </a:extLst>
              </p:cNvPr>
              <p:cNvGrpSpPr/>
              <p:nvPr/>
            </p:nvGrpSpPr>
            <p:grpSpPr>
              <a:xfrm>
                <a:off x="6916519" y="1692607"/>
                <a:ext cx="194460" cy="234124"/>
                <a:chOff x="6932220" y="2026513"/>
                <a:chExt cx="194460" cy="234124"/>
              </a:xfrm>
            </p:grpSpPr>
            <p:sp>
              <p:nvSpPr>
                <p:cNvPr id="12" name="任意多边形: 形状 11">
                  <a:extLst>
                    <a:ext uri="{FF2B5EF4-FFF2-40B4-BE49-F238E27FC236}">
                      <a16:creationId xmlns:a16="http://schemas.microsoft.com/office/drawing/2014/main" id="{689514AF-7949-49B6-A969-2BA8F1E2D9A7}"/>
                    </a:ext>
                  </a:extLst>
                </p:cNvPr>
                <p:cNvSpPr/>
                <p:nvPr/>
              </p:nvSpPr>
              <p:spPr bwMode="auto">
                <a:xfrm>
                  <a:off x="6932220" y="2026513"/>
                  <a:ext cx="194460" cy="155899"/>
                </a:xfrm>
                <a:custGeom>
                  <a:avLst/>
                  <a:gdLst>
                    <a:gd name="T0" fmla="*/ 0 w 353"/>
                    <a:gd name="T1" fmla="*/ 0 h 283"/>
                    <a:gd name="T2" fmla="*/ 282 w 353"/>
                    <a:gd name="T3" fmla="*/ 283 h 283"/>
                    <a:gd name="T4" fmla="*/ 353 w 353"/>
                    <a:gd name="T5" fmla="*/ 212 h 283"/>
                    <a:gd name="T6" fmla="*/ 141 w 353"/>
                    <a:gd name="T7" fmla="*/ 0 h 283"/>
                    <a:gd name="T8" fmla="*/ 0 w 353"/>
                    <a:gd name="T9" fmla="*/ 0 h 283"/>
                  </a:gdLst>
                  <a:ahLst/>
                  <a:cxnLst>
                    <a:cxn ang="0">
                      <a:pos x="T0" y="T1"/>
                    </a:cxn>
                    <a:cxn ang="0">
                      <a:pos x="T2" y="T3"/>
                    </a:cxn>
                    <a:cxn ang="0">
                      <a:pos x="T4" y="T5"/>
                    </a:cxn>
                    <a:cxn ang="0">
                      <a:pos x="T6" y="T7"/>
                    </a:cxn>
                    <a:cxn ang="0">
                      <a:pos x="T8" y="T9"/>
                    </a:cxn>
                  </a:cxnLst>
                  <a:rect l="0" t="0" r="r" b="b"/>
                  <a:pathLst>
                    <a:path w="353" h="283">
                      <a:moveTo>
                        <a:pt x="0" y="0"/>
                      </a:moveTo>
                      <a:lnTo>
                        <a:pt x="282" y="283"/>
                      </a:lnTo>
                      <a:lnTo>
                        <a:pt x="353" y="212"/>
                      </a:lnTo>
                      <a:lnTo>
                        <a:pt x="141" y="0"/>
                      </a:lnTo>
                      <a:lnTo>
                        <a:pt x="0" y="0"/>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normAutofit fontScale="40000" lnSpcReduction="20000"/>
                </a:bodyPr>
                <a:lstStyle>
                  <a:defPPr>
                    <a:defRPr lang="id-ID"/>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id-ID"/>
                </a:p>
              </p:txBody>
            </p:sp>
            <p:sp>
              <p:nvSpPr>
                <p:cNvPr id="13" name="任意多边形: 形状 12">
                  <a:extLst>
                    <a:ext uri="{FF2B5EF4-FFF2-40B4-BE49-F238E27FC236}">
                      <a16:creationId xmlns:a16="http://schemas.microsoft.com/office/drawing/2014/main" id="{58EC8F25-758F-4856-99C7-C3E7E8C55D3F}"/>
                    </a:ext>
                  </a:extLst>
                </p:cNvPr>
                <p:cNvSpPr/>
                <p:nvPr/>
              </p:nvSpPr>
              <p:spPr bwMode="auto">
                <a:xfrm>
                  <a:off x="6932220" y="2104738"/>
                  <a:ext cx="194460" cy="155899"/>
                </a:xfrm>
                <a:custGeom>
                  <a:avLst/>
                  <a:gdLst>
                    <a:gd name="T0" fmla="*/ 0 w 353"/>
                    <a:gd name="T1" fmla="*/ 283 h 283"/>
                    <a:gd name="T2" fmla="*/ 282 w 353"/>
                    <a:gd name="T3" fmla="*/ 0 h 283"/>
                    <a:gd name="T4" fmla="*/ 353 w 353"/>
                    <a:gd name="T5" fmla="*/ 71 h 283"/>
                    <a:gd name="T6" fmla="*/ 141 w 353"/>
                    <a:gd name="T7" fmla="*/ 283 h 283"/>
                    <a:gd name="T8" fmla="*/ 0 w 353"/>
                    <a:gd name="T9" fmla="*/ 283 h 283"/>
                  </a:gdLst>
                  <a:ahLst/>
                  <a:cxnLst>
                    <a:cxn ang="0">
                      <a:pos x="T0" y="T1"/>
                    </a:cxn>
                    <a:cxn ang="0">
                      <a:pos x="T2" y="T3"/>
                    </a:cxn>
                    <a:cxn ang="0">
                      <a:pos x="T4" y="T5"/>
                    </a:cxn>
                    <a:cxn ang="0">
                      <a:pos x="T6" y="T7"/>
                    </a:cxn>
                    <a:cxn ang="0">
                      <a:pos x="T8" y="T9"/>
                    </a:cxn>
                  </a:cxnLst>
                  <a:rect l="0" t="0" r="r" b="b"/>
                  <a:pathLst>
                    <a:path w="353" h="283">
                      <a:moveTo>
                        <a:pt x="0" y="283"/>
                      </a:moveTo>
                      <a:lnTo>
                        <a:pt x="282" y="0"/>
                      </a:lnTo>
                      <a:lnTo>
                        <a:pt x="353" y="71"/>
                      </a:lnTo>
                      <a:lnTo>
                        <a:pt x="141" y="283"/>
                      </a:lnTo>
                      <a:lnTo>
                        <a:pt x="0" y="283"/>
                      </a:lnTo>
                      <a:close/>
                    </a:path>
                  </a:pathLst>
                </a:custGeom>
                <a:solidFill>
                  <a:schemeClr val="accent1"/>
                </a:solidFill>
                <a:ln>
                  <a:noFill/>
                </a:ln>
              </p:spPr>
              <p:txBody>
                <a:bodyPr vert="horz" wrap="square" lIns="91440" tIns="45720" rIns="91440" bIns="45720" numCol="1" anchor="t" anchorCtr="0" compatLnSpc="1">
                  <a:prstTxWarp prst="textNoShape">
                    <a:avLst/>
                  </a:prstTxWarp>
                  <a:normAutofit fontScale="40000" lnSpcReduction="20000"/>
                </a:bodyPr>
                <a:lstStyle>
                  <a:defPPr>
                    <a:defRPr lang="id-ID"/>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id-ID"/>
                </a:p>
              </p:txBody>
            </p:sp>
          </p:grpSp>
          <p:sp>
            <p:nvSpPr>
              <p:cNvPr id="10" name="矩形 9">
                <a:extLst>
                  <a:ext uri="{FF2B5EF4-FFF2-40B4-BE49-F238E27FC236}">
                    <a16:creationId xmlns:a16="http://schemas.microsoft.com/office/drawing/2014/main" id="{E709B91D-7F24-4B51-969D-56245AC1600A}"/>
                  </a:ext>
                </a:extLst>
              </p:cNvPr>
              <p:cNvSpPr/>
              <p:nvPr/>
            </p:nvSpPr>
            <p:spPr bwMode="auto">
              <a:xfrm>
                <a:off x="6079590" y="1440047"/>
                <a:ext cx="739244" cy="739244"/>
              </a:xfrm>
              <a:prstGeom prst="rect">
                <a:avLst/>
              </a:prstGeom>
              <a:noFill/>
              <a:ln w="19050">
                <a:noFill/>
                <a:round/>
                <a:headEnd/>
                <a:tailEnd/>
              </a:ln>
            </p:spPr>
            <p:txBody>
              <a:bodyPr rot="0" spcFirstLastPara="0" vert="horz" wrap="square" lIns="91440" tIns="45720" rIns="91440" bIns="45720" anchor="ctr" anchorCtr="0" forceAA="0" compatLnSpc="1">
                <a:prstTxWarp prst="textNoShape">
                  <a:avLst/>
                </a:prstTxWarp>
                <a:normAutofit/>
              </a:bodyPr>
              <a:lstStyle/>
              <a:p>
                <a:pPr algn="ctr"/>
                <a:r>
                  <a:rPr lang="en-US" altLang="zh-CN" sz="2800" dirty="0">
                    <a:solidFill>
                      <a:schemeClr val="bg1">
                        <a:lumMod val="65000"/>
                      </a:schemeClr>
                    </a:solidFill>
                    <a:latin typeface="等线 Light" panose="02010600030101010101" pitchFamily="2" charset="-122"/>
                    <a:ea typeface="等线 Light" panose="02010600030101010101" pitchFamily="2" charset="-122"/>
                  </a:rPr>
                  <a:t>05</a:t>
                </a:r>
              </a:p>
            </p:txBody>
          </p:sp>
          <p:sp>
            <p:nvSpPr>
              <p:cNvPr id="11" name="矩形 10">
                <a:extLst>
                  <a:ext uri="{FF2B5EF4-FFF2-40B4-BE49-F238E27FC236}">
                    <a16:creationId xmlns:a16="http://schemas.microsoft.com/office/drawing/2014/main" id="{F8E07573-A8E5-42F7-B445-E2E8E3B47ABD}"/>
                  </a:ext>
                </a:extLst>
              </p:cNvPr>
              <p:cNvSpPr/>
              <p:nvPr/>
            </p:nvSpPr>
            <p:spPr bwMode="auto">
              <a:xfrm>
                <a:off x="7368467" y="1379079"/>
                <a:ext cx="3764132" cy="861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Rogue Algorithm Analysis</a:t>
                </a:r>
              </a:p>
            </p:txBody>
          </p:sp>
        </p:grpSp>
      </p:grpSp>
    </p:spTree>
    <p:extLst>
      <p:ext uri="{BB962C8B-B14F-4D97-AF65-F5344CB8AC3E}">
        <p14:creationId xmlns:p14="http://schemas.microsoft.com/office/powerpoint/2010/main" val="1590860616"/>
      </p:ext>
    </p:extLst>
  </p:cSld>
  <p:clrMapOvr>
    <a:masterClrMapping/>
  </p:clrMapOvr>
  <mc:AlternateContent xmlns:mc="http://schemas.openxmlformats.org/markup-compatibility/2006" xmlns:p14="http://schemas.microsoft.com/office/powerpoint/2010/main">
    <mc:Choice Requires="p14">
      <p:transition spd="slow" p14:dur="1500" advClick="0" advTm="1000">
        <p:random/>
      </p:transition>
    </mc:Choice>
    <mc:Fallback xmlns="">
      <p:transition spd="slow" advClick="0" advTm="1000">
        <p:random/>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079CA997-92CD-4463-AF46-B612E6CDA26D}"/>
              </a:ext>
            </a:extLst>
          </p:cNvPr>
          <p:cNvGrpSpPr>
            <a:grpSpLocks noChangeAspect="1"/>
          </p:cNvGrpSpPr>
          <p:nvPr/>
        </p:nvGrpSpPr>
        <p:grpSpPr bwMode="auto">
          <a:xfrm>
            <a:off x="4103688" y="1774825"/>
            <a:ext cx="3971925" cy="4319588"/>
            <a:chOff x="2673350" y="215900"/>
            <a:chExt cx="3980372" cy="4329113"/>
          </a:xfrm>
        </p:grpSpPr>
        <p:sp>
          <p:nvSpPr>
            <p:cNvPr id="7" name="Freeform 6">
              <a:extLst>
                <a:ext uri="{FF2B5EF4-FFF2-40B4-BE49-F238E27FC236}">
                  <a16:creationId xmlns:a16="http://schemas.microsoft.com/office/drawing/2014/main" id="{28AAC94A-7B8D-49CC-ABFF-956DBA059D6B}"/>
                </a:ext>
              </a:extLst>
            </p:cNvPr>
            <p:cNvSpPr>
              <a:spLocks/>
            </p:cNvSpPr>
            <p:nvPr/>
          </p:nvSpPr>
          <p:spPr bwMode="auto">
            <a:xfrm>
              <a:off x="3246065" y="1195956"/>
              <a:ext cx="539306" cy="335702"/>
            </a:xfrm>
            <a:custGeom>
              <a:avLst/>
              <a:gdLst>
                <a:gd name="T0" fmla="*/ 73 w 85"/>
                <a:gd name="T1" fmla="*/ 48 h 53"/>
                <a:gd name="T2" fmla="*/ 52 w 85"/>
                <a:gd name="T3" fmla="*/ 15 h 53"/>
                <a:gd name="T4" fmla="*/ 0 w 85"/>
                <a:gd name="T5" fmla="*/ 0 h 53"/>
                <a:gd name="T6" fmla="*/ 27 w 85"/>
                <a:gd name="T7" fmla="*/ 38 h 53"/>
                <a:gd name="T8" fmla="*/ 54 w 85"/>
                <a:gd name="T9" fmla="*/ 45 h 53"/>
                <a:gd name="T10" fmla="*/ 85 w 85"/>
                <a:gd name="T11" fmla="*/ 53 h 53"/>
                <a:gd name="T12" fmla="*/ 73 w 85"/>
                <a:gd name="T13" fmla="*/ 48 h 53"/>
                <a:gd name="T14" fmla="*/ 73 w 85"/>
                <a:gd name="T15" fmla="*/ 48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53">
                  <a:moveTo>
                    <a:pt x="73" y="48"/>
                  </a:moveTo>
                  <a:cubicBezTo>
                    <a:pt x="62" y="41"/>
                    <a:pt x="55" y="28"/>
                    <a:pt x="52" y="15"/>
                  </a:cubicBezTo>
                  <a:cubicBezTo>
                    <a:pt x="0" y="0"/>
                    <a:pt x="0" y="0"/>
                    <a:pt x="0" y="0"/>
                  </a:cubicBezTo>
                  <a:cubicBezTo>
                    <a:pt x="3" y="16"/>
                    <a:pt x="12" y="31"/>
                    <a:pt x="27" y="38"/>
                  </a:cubicBezTo>
                  <a:cubicBezTo>
                    <a:pt x="36" y="41"/>
                    <a:pt x="45" y="43"/>
                    <a:pt x="54" y="45"/>
                  </a:cubicBezTo>
                  <a:cubicBezTo>
                    <a:pt x="64" y="48"/>
                    <a:pt x="74" y="51"/>
                    <a:pt x="85" y="53"/>
                  </a:cubicBezTo>
                  <a:cubicBezTo>
                    <a:pt x="81" y="52"/>
                    <a:pt x="77" y="51"/>
                    <a:pt x="73" y="48"/>
                  </a:cubicBezTo>
                  <a:cubicBezTo>
                    <a:pt x="70" y="46"/>
                    <a:pt x="77" y="51"/>
                    <a:pt x="73" y="4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lIns="121920" tIns="60960" rIns="121920" bIns="6096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lumMod val="65000"/>
                  </a:srgbClr>
                </a:solidFill>
                <a:effectLst/>
                <a:uLnTx/>
                <a:uFillTx/>
                <a:latin typeface="Aa楷体" panose="02000500000000000000" pitchFamily="2" charset="-122"/>
                <a:ea typeface="+mn-ea"/>
                <a:cs typeface="+mn-cs"/>
                <a:sym typeface="YRDZST"/>
              </a:endParaRPr>
            </a:p>
          </p:txBody>
        </p:sp>
        <p:sp>
          <p:nvSpPr>
            <p:cNvPr id="10" name="Freeform 9">
              <a:extLst>
                <a:ext uri="{FF2B5EF4-FFF2-40B4-BE49-F238E27FC236}">
                  <a16:creationId xmlns:a16="http://schemas.microsoft.com/office/drawing/2014/main" id="{85D363E5-CBE8-4505-9539-C4043D7F314D}"/>
                </a:ext>
              </a:extLst>
            </p:cNvPr>
            <p:cNvSpPr>
              <a:spLocks/>
            </p:cNvSpPr>
            <p:nvPr/>
          </p:nvSpPr>
          <p:spPr bwMode="auto">
            <a:xfrm>
              <a:off x="2902436" y="2109191"/>
              <a:ext cx="852710" cy="140008"/>
            </a:xfrm>
            <a:custGeom>
              <a:avLst/>
              <a:gdLst>
                <a:gd name="T0" fmla="*/ 325 w 537"/>
                <a:gd name="T1" fmla="*/ 48 h 88"/>
                <a:gd name="T2" fmla="*/ 277 w 537"/>
                <a:gd name="T3" fmla="*/ 40 h 88"/>
                <a:gd name="T4" fmla="*/ 0 w 537"/>
                <a:gd name="T5" fmla="*/ 0 h 88"/>
                <a:gd name="T6" fmla="*/ 213 w 537"/>
                <a:gd name="T7" fmla="*/ 44 h 88"/>
                <a:gd name="T8" fmla="*/ 489 w 537"/>
                <a:gd name="T9" fmla="*/ 80 h 88"/>
                <a:gd name="T10" fmla="*/ 537 w 537"/>
                <a:gd name="T11" fmla="*/ 88 h 88"/>
                <a:gd name="T12" fmla="*/ 325 w 537"/>
                <a:gd name="T13" fmla="*/ 48 h 88"/>
              </a:gdLst>
              <a:ahLst/>
              <a:cxnLst>
                <a:cxn ang="0">
                  <a:pos x="T0" y="T1"/>
                </a:cxn>
                <a:cxn ang="0">
                  <a:pos x="T2" y="T3"/>
                </a:cxn>
                <a:cxn ang="0">
                  <a:pos x="T4" y="T5"/>
                </a:cxn>
                <a:cxn ang="0">
                  <a:pos x="T6" y="T7"/>
                </a:cxn>
                <a:cxn ang="0">
                  <a:pos x="T8" y="T9"/>
                </a:cxn>
                <a:cxn ang="0">
                  <a:pos x="T10" y="T11"/>
                </a:cxn>
                <a:cxn ang="0">
                  <a:pos x="T12" y="T13"/>
                </a:cxn>
              </a:cxnLst>
              <a:rect l="0" t="0" r="r" b="b"/>
              <a:pathLst>
                <a:path w="537" h="88">
                  <a:moveTo>
                    <a:pt x="325" y="48"/>
                  </a:moveTo>
                  <a:lnTo>
                    <a:pt x="277" y="40"/>
                  </a:lnTo>
                  <a:lnTo>
                    <a:pt x="0" y="0"/>
                  </a:lnTo>
                  <a:lnTo>
                    <a:pt x="213" y="44"/>
                  </a:lnTo>
                  <a:lnTo>
                    <a:pt x="489" y="80"/>
                  </a:lnTo>
                  <a:lnTo>
                    <a:pt x="537" y="88"/>
                  </a:lnTo>
                  <a:lnTo>
                    <a:pt x="325"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lIns="121920" tIns="60960" rIns="121920" bIns="6096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lumMod val="65000"/>
                  </a:srgbClr>
                </a:solidFill>
                <a:effectLst/>
                <a:uLnTx/>
                <a:uFillTx/>
                <a:latin typeface="Aa楷体" panose="02000500000000000000" pitchFamily="2" charset="-122"/>
                <a:ea typeface="+mn-ea"/>
                <a:cs typeface="+mn-cs"/>
                <a:sym typeface="YRDZST"/>
              </a:endParaRPr>
            </a:p>
          </p:txBody>
        </p:sp>
        <p:sp>
          <p:nvSpPr>
            <p:cNvPr id="11" name="Freeform 10">
              <a:extLst>
                <a:ext uri="{FF2B5EF4-FFF2-40B4-BE49-F238E27FC236}">
                  <a16:creationId xmlns:a16="http://schemas.microsoft.com/office/drawing/2014/main" id="{EAE30AD6-ED32-49D4-BB02-31A8EAF35B4E}"/>
                </a:ext>
              </a:extLst>
            </p:cNvPr>
            <p:cNvSpPr>
              <a:spLocks/>
            </p:cNvSpPr>
            <p:nvPr/>
          </p:nvSpPr>
          <p:spPr bwMode="auto">
            <a:xfrm>
              <a:off x="2972435" y="3870429"/>
              <a:ext cx="617260" cy="198875"/>
            </a:xfrm>
            <a:custGeom>
              <a:avLst/>
              <a:gdLst>
                <a:gd name="T0" fmla="*/ 43 w 97"/>
                <a:gd name="T1" fmla="*/ 0 h 31"/>
                <a:gd name="T2" fmla="*/ 0 w 97"/>
                <a:gd name="T3" fmla="*/ 29 h 31"/>
                <a:gd name="T4" fmla="*/ 57 w 97"/>
                <a:gd name="T5" fmla="*/ 31 h 31"/>
                <a:gd name="T6" fmla="*/ 97 w 97"/>
                <a:gd name="T7" fmla="*/ 3 h 31"/>
                <a:gd name="T8" fmla="*/ 43 w 97"/>
                <a:gd name="T9" fmla="*/ 0 h 31"/>
              </a:gdLst>
              <a:ahLst/>
              <a:cxnLst>
                <a:cxn ang="0">
                  <a:pos x="T0" y="T1"/>
                </a:cxn>
                <a:cxn ang="0">
                  <a:pos x="T2" y="T3"/>
                </a:cxn>
                <a:cxn ang="0">
                  <a:pos x="T4" y="T5"/>
                </a:cxn>
                <a:cxn ang="0">
                  <a:pos x="T6" y="T7"/>
                </a:cxn>
                <a:cxn ang="0">
                  <a:pos x="T8" y="T9"/>
                </a:cxn>
              </a:cxnLst>
              <a:rect l="0" t="0" r="r" b="b"/>
              <a:pathLst>
                <a:path w="97" h="31">
                  <a:moveTo>
                    <a:pt x="43" y="0"/>
                  </a:moveTo>
                  <a:cubicBezTo>
                    <a:pt x="34" y="16"/>
                    <a:pt x="19" y="30"/>
                    <a:pt x="0" y="29"/>
                  </a:cubicBezTo>
                  <a:cubicBezTo>
                    <a:pt x="19" y="30"/>
                    <a:pt x="38" y="31"/>
                    <a:pt x="57" y="31"/>
                  </a:cubicBezTo>
                  <a:cubicBezTo>
                    <a:pt x="75" y="30"/>
                    <a:pt x="89" y="17"/>
                    <a:pt x="97" y="3"/>
                  </a:cubicBezTo>
                  <a:lnTo>
                    <a:pt x="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lIns="121920" tIns="60960" rIns="121920" bIns="6096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lumMod val="65000"/>
                  </a:srgbClr>
                </a:solidFill>
                <a:effectLst/>
                <a:uLnTx/>
                <a:uFillTx/>
                <a:latin typeface="Aa楷体" panose="02000500000000000000" pitchFamily="2" charset="-122"/>
                <a:ea typeface="+mn-ea"/>
                <a:cs typeface="+mn-cs"/>
                <a:sym typeface="YRDZST"/>
              </a:endParaRPr>
            </a:p>
          </p:txBody>
        </p:sp>
        <p:sp>
          <p:nvSpPr>
            <p:cNvPr id="12" name="Freeform 11">
              <a:extLst>
                <a:ext uri="{FF2B5EF4-FFF2-40B4-BE49-F238E27FC236}">
                  <a16:creationId xmlns:a16="http://schemas.microsoft.com/office/drawing/2014/main" id="{60BEAB06-685B-43EF-BD83-4C61FA6FBBF1}"/>
                </a:ext>
              </a:extLst>
            </p:cNvPr>
            <p:cNvSpPr>
              <a:spLocks/>
            </p:cNvSpPr>
            <p:nvPr/>
          </p:nvSpPr>
          <p:spPr bwMode="auto">
            <a:xfrm>
              <a:off x="3187202" y="2255563"/>
              <a:ext cx="693622" cy="693676"/>
            </a:xfrm>
            <a:custGeom>
              <a:avLst/>
              <a:gdLst>
                <a:gd name="T0" fmla="*/ 108 w 109"/>
                <a:gd name="T1" fmla="*/ 99 h 109"/>
                <a:gd name="T2" fmla="*/ 72 w 109"/>
                <a:gd name="T3" fmla="*/ 10 h 109"/>
                <a:gd name="T4" fmla="*/ 18 w 109"/>
                <a:gd name="T5" fmla="*/ 0 h 109"/>
                <a:gd name="T6" fmla="*/ 41 w 109"/>
                <a:gd name="T7" fmla="*/ 101 h 109"/>
                <a:gd name="T8" fmla="*/ 60 w 109"/>
                <a:gd name="T9" fmla="*/ 102 h 109"/>
                <a:gd name="T10" fmla="*/ 65 w 109"/>
                <a:gd name="T11" fmla="*/ 104 h 109"/>
                <a:gd name="T12" fmla="*/ 109 w 109"/>
                <a:gd name="T13" fmla="*/ 99 h 109"/>
                <a:gd name="T14" fmla="*/ 108 w 109"/>
                <a:gd name="T15" fmla="*/ 99 h 109"/>
                <a:gd name="T16" fmla="*/ 108 w 109"/>
                <a:gd name="T17" fmla="*/ 9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 h="109">
                  <a:moveTo>
                    <a:pt x="108" y="99"/>
                  </a:moveTo>
                  <a:cubicBezTo>
                    <a:pt x="68" y="95"/>
                    <a:pt x="61" y="41"/>
                    <a:pt x="72" y="10"/>
                  </a:cubicBezTo>
                  <a:cubicBezTo>
                    <a:pt x="18" y="0"/>
                    <a:pt x="18" y="0"/>
                    <a:pt x="18" y="0"/>
                  </a:cubicBezTo>
                  <a:cubicBezTo>
                    <a:pt x="7" y="32"/>
                    <a:pt x="0" y="95"/>
                    <a:pt x="41" y="101"/>
                  </a:cubicBezTo>
                  <a:cubicBezTo>
                    <a:pt x="41" y="101"/>
                    <a:pt x="61" y="109"/>
                    <a:pt x="60" y="102"/>
                  </a:cubicBezTo>
                  <a:cubicBezTo>
                    <a:pt x="60" y="102"/>
                    <a:pt x="65" y="104"/>
                    <a:pt x="65" y="104"/>
                  </a:cubicBezTo>
                  <a:cubicBezTo>
                    <a:pt x="109" y="99"/>
                    <a:pt x="109" y="99"/>
                    <a:pt x="109" y="99"/>
                  </a:cubicBezTo>
                  <a:cubicBezTo>
                    <a:pt x="108" y="99"/>
                    <a:pt x="108" y="99"/>
                    <a:pt x="108" y="99"/>
                  </a:cubicBezTo>
                  <a:cubicBezTo>
                    <a:pt x="108" y="99"/>
                    <a:pt x="108" y="99"/>
                    <a:pt x="108" y="9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lIns="121920" tIns="60960" rIns="121920" bIns="6096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lumMod val="65000"/>
                  </a:srgbClr>
                </a:solidFill>
                <a:effectLst/>
                <a:uLnTx/>
                <a:uFillTx/>
                <a:latin typeface="Aa楷体" panose="02000500000000000000" pitchFamily="2" charset="-122"/>
                <a:ea typeface="+mn-ea"/>
                <a:cs typeface="+mn-cs"/>
                <a:sym typeface="YRDZST"/>
              </a:endParaRPr>
            </a:p>
          </p:txBody>
        </p:sp>
        <p:sp>
          <p:nvSpPr>
            <p:cNvPr id="13" name="Freeform 12">
              <a:extLst>
                <a:ext uri="{FF2B5EF4-FFF2-40B4-BE49-F238E27FC236}">
                  <a16:creationId xmlns:a16="http://schemas.microsoft.com/office/drawing/2014/main" id="{73348B50-D15E-4D88-9A4E-67B52932EB80}"/>
                </a:ext>
              </a:extLst>
            </p:cNvPr>
            <p:cNvSpPr>
              <a:spLocks/>
            </p:cNvSpPr>
            <p:nvPr/>
          </p:nvSpPr>
          <p:spPr bwMode="auto">
            <a:xfrm>
              <a:off x="3537195" y="2230107"/>
              <a:ext cx="668168" cy="591852"/>
            </a:xfrm>
            <a:custGeom>
              <a:avLst/>
              <a:gdLst>
                <a:gd name="T0" fmla="*/ 103 w 105"/>
                <a:gd name="T1" fmla="*/ 25 h 93"/>
                <a:gd name="T2" fmla="*/ 100 w 105"/>
                <a:gd name="T3" fmla="*/ 11 h 93"/>
                <a:gd name="T4" fmla="*/ 48 w 105"/>
                <a:gd name="T5" fmla="*/ 0 h 93"/>
                <a:gd name="T6" fmla="*/ 44 w 105"/>
                <a:gd name="T7" fmla="*/ 50 h 93"/>
                <a:gd name="T8" fmla="*/ 0 w 105"/>
                <a:gd name="T9" fmla="*/ 80 h 93"/>
                <a:gd name="T10" fmla="*/ 53 w 105"/>
                <a:gd name="T11" fmla="*/ 88 h 93"/>
                <a:gd name="T12" fmla="*/ 103 w 105"/>
                <a:gd name="T13" fmla="*/ 25 h 93"/>
                <a:gd name="T14" fmla="*/ 103 w 105"/>
                <a:gd name="T15" fmla="*/ 25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93">
                  <a:moveTo>
                    <a:pt x="103" y="25"/>
                  </a:moveTo>
                  <a:cubicBezTo>
                    <a:pt x="103" y="20"/>
                    <a:pt x="102" y="15"/>
                    <a:pt x="100" y="11"/>
                  </a:cubicBezTo>
                  <a:cubicBezTo>
                    <a:pt x="48" y="0"/>
                    <a:pt x="48" y="0"/>
                    <a:pt x="48" y="0"/>
                  </a:cubicBezTo>
                  <a:cubicBezTo>
                    <a:pt x="53" y="17"/>
                    <a:pt x="52" y="35"/>
                    <a:pt x="44" y="50"/>
                  </a:cubicBezTo>
                  <a:cubicBezTo>
                    <a:pt x="37" y="67"/>
                    <a:pt x="20" y="83"/>
                    <a:pt x="0" y="80"/>
                  </a:cubicBezTo>
                  <a:cubicBezTo>
                    <a:pt x="53" y="88"/>
                    <a:pt x="53" y="88"/>
                    <a:pt x="53" y="88"/>
                  </a:cubicBezTo>
                  <a:cubicBezTo>
                    <a:pt x="86" y="93"/>
                    <a:pt x="105" y="53"/>
                    <a:pt x="103" y="25"/>
                  </a:cubicBezTo>
                  <a:cubicBezTo>
                    <a:pt x="103" y="24"/>
                    <a:pt x="103" y="26"/>
                    <a:pt x="103"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lIns="121920" tIns="60960" rIns="121920" bIns="6096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lumMod val="65000"/>
                  </a:srgbClr>
                </a:solidFill>
                <a:effectLst/>
                <a:uLnTx/>
                <a:uFillTx/>
                <a:latin typeface="Aa楷体" panose="02000500000000000000" pitchFamily="2" charset="-122"/>
                <a:ea typeface="+mn-ea"/>
                <a:cs typeface="+mn-cs"/>
                <a:sym typeface="YRDZST"/>
              </a:endParaRPr>
            </a:p>
          </p:txBody>
        </p:sp>
        <p:sp>
          <p:nvSpPr>
            <p:cNvPr id="14" name="Freeform 13">
              <a:extLst>
                <a:ext uri="{FF2B5EF4-FFF2-40B4-BE49-F238E27FC236}">
                  <a16:creationId xmlns:a16="http://schemas.microsoft.com/office/drawing/2014/main" id="{E6107086-9E65-41F0-9328-570513B7947A}"/>
                </a:ext>
              </a:extLst>
            </p:cNvPr>
            <p:cNvSpPr>
              <a:spLocks/>
            </p:cNvSpPr>
            <p:nvPr/>
          </p:nvSpPr>
          <p:spPr bwMode="auto">
            <a:xfrm>
              <a:off x="4008095" y="817298"/>
              <a:ext cx="890891" cy="1056424"/>
            </a:xfrm>
            <a:custGeom>
              <a:avLst/>
              <a:gdLst>
                <a:gd name="T0" fmla="*/ 90 w 140"/>
                <a:gd name="T1" fmla="*/ 15 h 166"/>
                <a:gd name="T2" fmla="*/ 1 w 140"/>
                <a:gd name="T3" fmla="*/ 85 h 166"/>
                <a:gd name="T4" fmla="*/ 29 w 140"/>
                <a:gd name="T5" fmla="*/ 155 h 166"/>
                <a:gd name="T6" fmla="*/ 64 w 140"/>
                <a:gd name="T7" fmla="*/ 157 h 166"/>
                <a:gd name="T8" fmla="*/ 101 w 140"/>
                <a:gd name="T9" fmla="*/ 166 h 166"/>
                <a:gd name="T10" fmla="*/ 67 w 140"/>
                <a:gd name="T11" fmla="*/ 79 h 166"/>
                <a:gd name="T12" fmla="*/ 140 w 140"/>
                <a:gd name="T13" fmla="*/ 32 h 166"/>
                <a:gd name="T14" fmla="*/ 90 w 140"/>
                <a:gd name="T15" fmla="*/ 15 h 166"/>
                <a:gd name="T16" fmla="*/ 90 w 140"/>
                <a:gd name="T17" fmla="*/ 15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66">
                  <a:moveTo>
                    <a:pt x="90" y="15"/>
                  </a:moveTo>
                  <a:cubicBezTo>
                    <a:pt x="47" y="0"/>
                    <a:pt x="4" y="48"/>
                    <a:pt x="1" y="85"/>
                  </a:cubicBezTo>
                  <a:cubicBezTo>
                    <a:pt x="0" y="107"/>
                    <a:pt x="11" y="141"/>
                    <a:pt x="29" y="155"/>
                  </a:cubicBezTo>
                  <a:cubicBezTo>
                    <a:pt x="38" y="162"/>
                    <a:pt x="53" y="154"/>
                    <a:pt x="64" y="157"/>
                  </a:cubicBezTo>
                  <a:cubicBezTo>
                    <a:pt x="76" y="160"/>
                    <a:pt x="88" y="163"/>
                    <a:pt x="101" y="166"/>
                  </a:cubicBezTo>
                  <a:cubicBezTo>
                    <a:pt x="64" y="157"/>
                    <a:pt x="56" y="110"/>
                    <a:pt x="67" y="79"/>
                  </a:cubicBezTo>
                  <a:cubicBezTo>
                    <a:pt x="77" y="50"/>
                    <a:pt x="107" y="21"/>
                    <a:pt x="140" y="32"/>
                  </a:cubicBezTo>
                  <a:cubicBezTo>
                    <a:pt x="124" y="27"/>
                    <a:pt x="107" y="21"/>
                    <a:pt x="90" y="15"/>
                  </a:cubicBezTo>
                  <a:cubicBezTo>
                    <a:pt x="89" y="15"/>
                    <a:pt x="107" y="21"/>
                    <a:pt x="90" y="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lIns="121920" tIns="60960" rIns="121920" bIns="6096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lumMod val="65000"/>
                  </a:srgbClr>
                </a:solidFill>
                <a:effectLst/>
                <a:uLnTx/>
                <a:uFillTx/>
                <a:latin typeface="Aa楷体" panose="02000500000000000000" pitchFamily="2" charset="-122"/>
                <a:ea typeface="+mn-ea"/>
                <a:cs typeface="+mn-cs"/>
                <a:sym typeface="YRDZST"/>
              </a:endParaRPr>
            </a:p>
          </p:txBody>
        </p:sp>
        <p:sp>
          <p:nvSpPr>
            <p:cNvPr id="15" name="Freeform 14">
              <a:extLst>
                <a:ext uri="{FF2B5EF4-FFF2-40B4-BE49-F238E27FC236}">
                  <a16:creationId xmlns:a16="http://schemas.microsoft.com/office/drawing/2014/main" id="{EC883B0E-4B23-432E-91FF-7955C0E95EA4}"/>
                </a:ext>
              </a:extLst>
            </p:cNvPr>
            <p:cNvSpPr>
              <a:spLocks/>
            </p:cNvSpPr>
            <p:nvPr/>
          </p:nvSpPr>
          <p:spPr bwMode="auto">
            <a:xfrm>
              <a:off x="4587173" y="298632"/>
              <a:ext cx="412037" cy="742998"/>
            </a:xfrm>
            <a:custGeom>
              <a:avLst/>
              <a:gdLst>
                <a:gd name="T0" fmla="*/ 0 w 260"/>
                <a:gd name="T1" fmla="*/ 400 h 468"/>
                <a:gd name="T2" fmla="*/ 200 w 260"/>
                <a:gd name="T3" fmla="*/ 468 h 468"/>
                <a:gd name="T4" fmla="*/ 260 w 260"/>
                <a:gd name="T5" fmla="*/ 84 h 468"/>
                <a:gd name="T6" fmla="*/ 64 w 260"/>
                <a:gd name="T7" fmla="*/ 0 h 468"/>
                <a:gd name="T8" fmla="*/ 0 w 260"/>
                <a:gd name="T9" fmla="*/ 400 h 468"/>
              </a:gdLst>
              <a:ahLst/>
              <a:cxnLst>
                <a:cxn ang="0">
                  <a:pos x="T0" y="T1"/>
                </a:cxn>
                <a:cxn ang="0">
                  <a:pos x="T2" y="T3"/>
                </a:cxn>
                <a:cxn ang="0">
                  <a:pos x="T4" y="T5"/>
                </a:cxn>
                <a:cxn ang="0">
                  <a:pos x="T6" y="T7"/>
                </a:cxn>
                <a:cxn ang="0">
                  <a:pos x="T8" y="T9"/>
                </a:cxn>
              </a:cxnLst>
              <a:rect l="0" t="0" r="r" b="b"/>
              <a:pathLst>
                <a:path w="260" h="468">
                  <a:moveTo>
                    <a:pt x="0" y="400"/>
                  </a:moveTo>
                  <a:lnTo>
                    <a:pt x="200" y="468"/>
                  </a:lnTo>
                  <a:lnTo>
                    <a:pt x="260" y="84"/>
                  </a:lnTo>
                  <a:lnTo>
                    <a:pt x="64" y="0"/>
                  </a:lnTo>
                  <a:lnTo>
                    <a:pt x="0" y="4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lIns="121920" tIns="60960" rIns="121920" bIns="6096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lumMod val="65000"/>
                  </a:srgbClr>
                </a:solidFill>
                <a:effectLst/>
                <a:uLnTx/>
                <a:uFillTx/>
                <a:latin typeface="Aa楷体" panose="02000500000000000000" pitchFamily="2" charset="-122"/>
                <a:ea typeface="+mn-ea"/>
                <a:cs typeface="+mn-cs"/>
                <a:sym typeface="YRDZST"/>
              </a:endParaRPr>
            </a:p>
          </p:txBody>
        </p:sp>
        <p:sp>
          <p:nvSpPr>
            <p:cNvPr id="16" name="Freeform 15">
              <a:extLst>
                <a:ext uri="{FF2B5EF4-FFF2-40B4-BE49-F238E27FC236}">
                  <a16:creationId xmlns:a16="http://schemas.microsoft.com/office/drawing/2014/main" id="{25C95E57-0B56-4E4B-993B-F5D21FD502EE}"/>
                </a:ext>
              </a:extLst>
            </p:cNvPr>
            <p:cNvSpPr>
              <a:spLocks/>
            </p:cNvSpPr>
            <p:nvPr/>
          </p:nvSpPr>
          <p:spPr bwMode="auto">
            <a:xfrm>
              <a:off x="4364451" y="1805310"/>
              <a:ext cx="400901" cy="577533"/>
            </a:xfrm>
            <a:custGeom>
              <a:avLst/>
              <a:gdLst>
                <a:gd name="T0" fmla="*/ 0 w 252"/>
                <a:gd name="T1" fmla="*/ 324 h 364"/>
                <a:gd name="T2" fmla="*/ 204 w 252"/>
                <a:gd name="T3" fmla="*/ 364 h 364"/>
                <a:gd name="T4" fmla="*/ 252 w 252"/>
                <a:gd name="T5" fmla="*/ 52 h 364"/>
                <a:gd name="T6" fmla="*/ 52 w 252"/>
                <a:gd name="T7" fmla="*/ 0 h 364"/>
                <a:gd name="T8" fmla="*/ 0 w 252"/>
                <a:gd name="T9" fmla="*/ 324 h 364"/>
              </a:gdLst>
              <a:ahLst/>
              <a:cxnLst>
                <a:cxn ang="0">
                  <a:pos x="T0" y="T1"/>
                </a:cxn>
                <a:cxn ang="0">
                  <a:pos x="T2" y="T3"/>
                </a:cxn>
                <a:cxn ang="0">
                  <a:pos x="T4" y="T5"/>
                </a:cxn>
                <a:cxn ang="0">
                  <a:pos x="T6" y="T7"/>
                </a:cxn>
                <a:cxn ang="0">
                  <a:pos x="T8" y="T9"/>
                </a:cxn>
              </a:cxnLst>
              <a:rect l="0" t="0" r="r" b="b"/>
              <a:pathLst>
                <a:path w="252" h="364">
                  <a:moveTo>
                    <a:pt x="0" y="324"/>
                  </a:moveTo>
                  <a:lnTo>
                    <a:pt x="204" y="364"/>
                  </a:lnTo>
                  <a:lnTo>
                    <a:pt x="252" y="52"/>
                  </a:lnTo>
                  <a:lnTo>
                    <a:pt x="52" y="0"/>
                  </a:lnTo>
                  <a:lnTo>
                    <a:pt x="0" y="3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lIns="121920" tIns="60960" rIns="121920" bIns="6096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lumMod val="65000"/>
                  </a:srgbClr>
                </a:solidFill>
                <a:effectLst/>
                <a:uLnTx/>
                <a:uFillTx/>
                <a:latin typeface="Aa楷体" panose="02000500000000000000" pitchFamily="2" charset="-122"/>
                <a:ea typeface="+mn-ea"/>
                <a:cs typeface="+mn-cs"/>
                <a:sym typeface="YRDZST"/>
              </a:endParaRPr>
            </a:p>
          </p:txBody>
        </p:sp>
        <p:sp>
          <p:nvSpPr>
            <p:cNvPr id="17" name="Freeform 16">
              <a:extLst>
                <a:ext uri="{FF2B5EF4-FFF2-40B4-BE49-F238E27FC236}">
                  <a16:creationId xmlns:a16="http://schemas.microsoft.com/office/drawing/2014/main" id="{6FE6B2B2-6651-4733-AE35-868DD0A789C6}"/>
                </a:ext>
              </a:extLst>
            </p:cNvPr>
            <p:cNvSpPr>
              <a:spLocks/>
            </p:cNvSpPr>
            <p:nvPr/>
          </p:nvSpPr>
          <p:spPr bwMode="auto">
            <a:xfrm>
              <a:off x="3855370" y="2242835"/>
              <a:ext cx="846346" cy="140008"/>
            </a:xfrm>
            <a:custGeom>
              <a:avLst/>
              <a:gdLst>
                <a:gd name="T0" fmla="*/ 329 w 533"/>
                <a:gd name="T1" fmla="*/ 48 h 88"/>
                <a:gd name="T2" fmla="*/ 52 w 533"/>
                <a:gd name="T3" fmla="*/ 8 h 88"/>
                <a:gd name="T4" fmla="*/ 0 w 533"/>
                <a:gd name="T5" fmla="*/ 0 h 88"/>
                <a:gd name="T6" fmla="*/ 209 w 533"/>
                <a:gd name="T7" fmla="*/ 44 h 88"/>
                <a:gd name="T8" fmla="*/ 261 w 533"/>
                <a:gd name="T9" fmla="*/ 48 h 88"/>
                <a:gd name="T10" fmla="*/ 533 w 533"/>
                <a:gd name="T11" fmla="*/ 88 h 88"/>
                <a:gd name="T12" fmla="*/ 329 w 533"/>
                <a:gd name="T13" fmla="*/ 48 h 88"/>
              </a:gdLst>
              <a:ahLst/>
              <a:cxnLst>
                <a:cxn ang="0">
                  <a:pos x="T0" y="T1"/>
                </a:cxn>
                <a:cxn ang="0">
                  <a:pos x="T2" y="T3"/>
                </a:cxn>
                <a:cxn ang="0">
                  <a:pos x="T4" y="T5"/>
                </a:cxn>
                <a:cxn ang="0">
                  <a:pos x="T6" y="T7"/>
                </a:cxn>
                <a:cxn ang="0">
                  <a:pos x="T8" y="T9"/>
                </a:cxn>
                <a:cxn ang="0">
                  <a:pos x="T10" y="T11"/>
                </a:cxn>
                <a:cxn ang="0">
                  <a:pos x="T12" y="T13"/>
                </a:cxn>
              </a:cxnLst>
              <a:rect l="0" t="0" r="r" b="b"/>
              <a:pathLst>
                <a:path w="533" h="88">
                  <a:moveTo>
                    <a:pt x="329" y="48"/>
                  </a:moveTo>
                  <a:lnTo>
                    <a:pt x="52" y="8"/>
                  </a:lnTo>
                  <a:lnTo>
                    <a:pt x="0" y="0"/>
                  </a:lnTo>
                  <a:lnTo>
                    <a:pt x="209" y="44"/>
                  </a:lnTo>
                  <a:lnTo>
                    <a:pt x="261" y="48"/>
                  </a:lnTo>
                  <a:lnTo>
                    <a:pt x="533" y="88"/>
                  </a:lnTo>
                  <a:lnTo>
                    <a:pt x="32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lIns="121920" tIns="60960" rIns="121920" bIns="6096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lumMod val="65000"/>
                  </a:srgbClr>
                </a:solidFill>
                <a:effectLst/>
                <a:uLnTx/>
                <a:uFillTx/>
                <a:latin typeface="Aa楷体" panose="02000500000000000000" pitchFamily="2" charset="-122"/>
                <a:ea typeface="+mn-ea"/>
                <a:cs typeface="+mn-cs"/>
                <a:sym typeface="YRDZST"/>
              </a:endParaRPr>
            </a:p>
          </p:txBody>
        </p:sp>
        <p:sp>
          <p:nvSpPr>
            <p:cNvPr id="18" name="Freeform 17">
              <a:extLst>
                <a:ext uri="{FF2B5EF4-FFF2-40B4-BE49-F238E27FC236}">
                  <a16:creationId xmlns:a16="http://schemas.microsoft.com/office/drawing/2014/main" id="{EA484862-B7CF-451E-9FC5-B4CA87910A2F}"/>
                </a:ext>
              </a:extLst>
            </p:cNvPr>
            <p:cNvSpPr>
              <a:spLocks/>
            </p:cNvSpPr>
            <p:nvPr/>
          </p:nvSpPr>
          <p:spPr bwMode="auto">
            <a:xfrm>
              <a:off x="4548992" y="1016174"/>
              <a:ext cx="419991" cy="173419"/>
            </a:xfrm>
            <a:custGeom>
              <a:avLst/>
              <a:gdLst>
                <a:gd name="T0" fmla="*/ 63 w 66"/>
                <a:gd name="T1" fmla="*/ 24 h 27"/>
                <a:gd name="T2" fmla="*/ 39 w 66"/>
                <a:gd name="T3" fmla="*/ 13 h 27"/>
                <a:gd name="T4" fmla="*/ 0 w 66"/>
                <a:gd name="T5" fmla="*/ 0 h 27"/>
                <a:gd name="T6" fmla="*/ 16 w 66"/>
                <a:gd name="T7" fmla="*/ 10 h 27"/>
                <a:gd name="T8" fmla="*/ 66 w 66"/>
                <a:gd name="T9" fmla="*/ 27 h 27"/>
                <a:gd name="T10" fmla="*/ 63 w 66"/>
                <a:gd name="T11" fmla="*/ 24 h 27"/>
              </a:gdLst>
              <a:ahLst/>
              <a:cxnLst>
                <a:cxn ang="0">
                  <a:pos x="T0" y="T1"/>
                </a:cxn>
                <a:cxn ang="0">
                  <a:pos x="T2" y="T3"/>
                </a:cxn>
                <a:cxn ang="0">
                  <a:pos x="T4" y="T5"/>
                </a:cxn>
                <a:cxn ang="0">
                  <a:pos x="T6" y="T7"/>
                </a:cxn>
                <a:cxn ang="0">
                  <a:pos x="T8" y="T9"/>
                </a:cxn>
                <a:cxn ang="0">
                  <a:pos x="T10" y="T11"/>
                </a:cxn>
              </a:cxnLst>
              <a:rect l="0" t="0" r="r" b="b"/>
              <a:pathLst>
                <a:path w="66" h="27">
                  <a:moveTo>
                    <a:pt x="63" y="24"/>
                  </a:moveTo>
                  <a:cubicBezTo>
                    <a:pt x="56" y="18"/>
                    <a:pt x="48" y="16"/>
                    <a:pt x="39" y="13"/>
                  </a:cubicBezTo>
                  <a:cubicBezTo>
                    <a:pt x="26" y="9"/>
                    <a:pt x="13" y="4"/>
                    <a:pt x="0" y="0"/>
                  </a:cubicBezTo>
                  <a:cubicBezTo>
                    <a:pt x="6" y="2"/>
                    <a:pt x="12" y="6"/>
                    <a:pt x="16" y="10"/>
                  </a:cubicBezTo>
                  <a:cubicBezTo>
                    <a:pt x="66" y="27"/>
                    <a:pt x="66" y="27"/>
                    <a:pt x="66" y="27"/>
                  </a:cubicBezTo>
                  <a:cubicBezTo>
                    <a:pt x="65" y="26"/>
                    <a:pt x="64" y="25"/>
                    <a:pt x="63"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lIns="121920" tIns="60960" rIns="121920" bIns="6096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lumMod val="65000"/>
                  </a:srgbClr>
                </a:solidFill>
                <a:effectLst/>
                <a:uLnTx/>
                <a:uFillTx/>
                <a:latin typeface="Aa楷体" panose="02000500000000000000" pitchFamily="2" charset="-122"/>
                <a:ea typeface="+mn-ea"/>
                <a:cs typeface="+mn-cs"/>
                <a:sym typeface="YRDZST"/>
              </a:endParaRPr>
            </a:p>
          </p:txBody>
        </p:sp>
        <p:sp>
          <p:nvSpPr>
            <p:cNvPr id="19" name="Freeform 18">
              <a:extLst>
                <a:ext uri="{FF2B5EF4-FFF2-40B4-BE49-F238E27FC236}">
                  <a16:creationId xmlns:a16="http://schemas.microsoft.com/office/drawing/2014/main" id="{2E4505B9-81B2-495D-9E8C-55D0C488E2E3}"/>
                </a:ext>
              </a:extLst>
            </p:cNvPr>
            <p:cNvSpPr>
              <a:spLocks/>
            </p:cNvSpPr>
            <p:nvPr/>
          </p:nvSpPr>
          <p:spPr bwMode="auto">
            <a:xfrm>
              <a:off x="4238772" y="2408299"/>
              <a:ext cx="443854" cy="795500"/>
            </a:xfrm>
            <a:custGeom>
              <a:avLst/>
              <a:gdLst>
                <a:gd name="T0" fmla="*/ 76 w 280"/>
                <a:gd name="T1" fmla="*/ 0 h 501"/>
                <a:gd name="T2" fmla="*/ 12 w 280"/>
                <a:gd name="T3" fmla="*/ 405 h 501"/>
                <a:gd name="T4" fmla="*/ 0 w 280"/>
                <a:gd name="T5" fmla="*/ 477 h 501"/>
                <a:gd name="T6" fmla="*/ 208 w 280"/>
                <a:gd name="T7" fmla="*/ 501 h 501"/>
                <a:gd name="T8" fmla="*/ 220 w 280"/>
                <a:gd name="T9" fmla="*/ 429 h 501"/>
                <a:gd name="T10" fmla="*/ 280 w 280"/>
                <a:gd name="T11" fmla="*/ 40 h 501"/>
                <a:gd name="T12" fmla="*/ 76 w 280"/>
                <a:gd name="T13" fmla="*/ 0 h 501"/>
              </a:gdLst>
              <a:ahLst/>
              <a:cxnLst>
                <a:cxn ang="0">
                  <a:pos x="T0" y="T1"/>
                </a:cxn>
                <a:cxn ang="0">
                  <a:pos x="T2" y="T3"/>
                </a:cxn>
                <a:cxn ang="0">
                  <a:pos x="T4" y="T5"/>
                </a:cxn>
                <a:cxn ang="0">
                  <a:pos x="T6" y="T7"/>
                </a:cxn>
                <a:cxn ang="0">
                  <a:pos x="T8" y="T9"/>
                </a:cxn>
                <a:cxn ang="0">
                  <a:pos x="T10" y="T11"/>
                </a:cxn>
                <a:cxn ang="0">
                  <a:pos x="T12" y="T13"/>
                </a:cxn>
              </a:cxnLst>
              <a:rect l="0" t="0" r="r" b="b"/>
              <a:pathLst>
                <a:path w="280" h="501">
                  <a:moveTo>
                    <a:pt x="76" y="0"/>
                  </a:moveTo>
                  <a:lnTo>
                    <a:pt x="12" y="405"/>
                  </a:lnTo>
                  <a:lnTo>
                    <a:pt x="0" y="477"/>
                  </a:lnTo>
                  <a:lnTo>
                    <a:pt x="208" y="501"/>
                  </a:lnTo>
                  <a:lnTo>
                    <a:pt x="220" y="429"/>
                  </a:lnTo>
                  <a:lnTo>
                    <a:pt x="280" y="40"/>
                  </a:lnTo>
                  <a:lnTo>
                    <a:pt x="7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lIns="121920" tIns="60960" rIns="121920" bIns="6096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lumMod val="65000"/>
                  </a:srgbClr>
                </a:solidFill>
                <a:effectLst/>
                <a:uLnTx/>
                <a:uFillTx/>
                <a:latin typeface="Aa楷体" panose="02000500000000000000" pitchFamily="2" charset="-122"/>
                <a:ea typeface="+mn-ea"/>
                <a:cs typeface="+mn-cs"/>
                <a:sym typeface="YRDZST"/>
              </a:endParaRPr>
            </a:p>
          </p:txBody>
        </p:sp>
        <p:sp>
          <p:nvSpPr>
            <p:cNvPr id="20" name="Freeform 19">
              <a:extLst>
                <a:ext uri="{FF2B5EF4-FFF2-40B4-BE49-F238E27FC236}">
                  <a16:creationId xmlns:a16="http://schemas.microsoft.com/office/drawing/2014/main" id="{DC3C39C5-CDDD-44A2-9161-97A0F5C9A11A}"/>
                </a:ext>
              </a:extLst>
            </p:cNvPr>
            <p:cNvSpPr>
              <a:spLocks/>
            </p:cNvSpPr>
            <p:nvPr/>
          </p:nvSpPr>
          <p:spPr bwMode="auto">
            <a:xfrm>
              <a:off x="4346952" y="1671666"/>
              <a:ext cx="526579" cy="146372"/>
            </a:xfrm>
            <a:custGeom>
              <a:avLst/>
              <a:gdLst>
                <a:gd name="T0" fmla="*/ 33 w 83"/>
                <a:gd name="T1" fmla="*/ 0 h 23"/>
                <a:gd name="T2" fmla="*/ 0 w 83"/>
                <a:gd name="T3" fmla="*/ 7 h 23"/>
                <a:gd name="T4" fmla="*/ 51 w 83"/>
                <a:gd name="T5" fmla="*/ 20 h 23"/>
                <a:gd name="T6" fmla="*/ 83 w 83"/>
                <a:gd name="T7" fmla="*/ 14 h 23"/>
                <a:gd name="T8" fmla="*/ 33 w 83"/>
                <a:gd name="T9" fmla="*/ 0 h 23"/>
              </a:gdLst>
              <a:ahLst/>
              <a:cxnLst>
                <a:cxn ang="0">
                  <a:pos x="T0" y="T1"/>
                </a:cxn>
                <a:cxn ang="0">
                  <a:pos x="T2" y="T3"/>
                </a:cxn>
                <a:cxn ang="0">
                  <a:pos x="T4" y="T5"/>
                </a:cxn>
                <a:cxn ang="0">
                  <a:pos x="T6" y="T7"/>
                </a:cxn>
                <a:cxn ang="0">
                  <a:pos x="T8" y="T9"/>
                </a:cxn>
              </a:cxnLst>
              <a:rect l="0" t="0" r="r" b="b"/>
              <a:pathLst>
                <a:path w="83" h="23">
                  <a:moveTo>
                    <a:pt x="33" y="0"/>
                  </a:moveTo>
                  <a:cubicBezTo>
                    <a:pt x="23" y="7"/>
                    <a:pt x="11" y="10"/>
                    <a:pt x="0" y="7"/>
                  </a:cubicBezTo>
                  <a:cubicBezTo>
                    <a:pt x="51" y="20"/>
                    <a:pt x="51" y="20"/>
                    <a:pt x="51" y="20"/>
                  </a:cubicBezTo>
                  <a:cubicBezTo>
                    <a:pt x="62" y="23"/>
                    <a:pt x="74" y="20"/>
                    <a:pt x="83" y="14"/>
                  </a:cubicBez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lIns="121920" tIns="60960" rIns="121920" bIns="6096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lumMod val="65000"/>
                  </a:srgbClr>
                </a:solidFill>
                <a:effectLst/>
                <a:uLnTx/>
                <a:uFillTx/>
                <a:latin typeface="Aa楷体" panose="02000500000000000000" pitchFamily="2" charset="-122"/>
                <a:ea typeface="+mn-ea"/>
                <a:cs typeface="+mn-cs"/>
                <a:sym typeface="YRDZST"/>
              </a:endParaRPr>
            </a:p>
          </p:txBody>
        </p:sp>
        <p:sp>
          <p:nvSpPr>
            <p:cNvPr id="21" name="Freeform 20">
              <a:extLst>
                <a:ext uri="{FF2B5EF4-FFF2-40B4-BE49-F238E27FC236}">
                  <a16:creationId xmlns:a16="http://schemas.microsoft.com/office/drawing/2014/main" id="{8CBBD09A-34BF-4366-B0C0-BD159B7B7F1A}"/>
                </a:ext>
              </a:extLst>
            </p:cNvPr>
            <p:cNvSpPr>
              <a:spLocks/>
            </p:cNvSpPr>
            <p:nvPr/>
          </p:nvSpPr>
          <p:spPr bwMode="auto">
            <a:xfrm>
              <a:off x="4027185" y="3711329"/>
              <a:ext cx="453400" cy="731860"/>
            </a:xfrm>
            <a:custGeom>
              <a:avLst/>
              <a:gdLst>
                <a:gd name="T0" fmla="*/ 76 w 285"/>
                <a:gd name="T1" fmla="*/ 0 h 461"/>
                <a:gd name="T2" fmla="*/ 64 w 285"/>
                <a:gd name="T3" fmla="*/ 72 h 461"/>
                <a:gd name="T4" fmla="*/ 0 w 285"/>
                <a:gd name="T5" fmla="*/ 461 h 461"/>
                <a:gd name="T6" fmla="*/ 213 w 285"/>
                <a:gd name="T7" fmla="*/ 461 h 461"/>
                <a:gd name="T8" fmla="*/ 277 w 285"/>
                <a:gd name="T9" fmla="*/ 84 h 461"/>
                <a:gd name="T10" fmla="*/ 285 w 285"/>
                <a:gd name="T11" fmla="*/ 12 h 461"/>
                <a:gd name="T12" fmla="*/ 76 w 285"/>
                <a:gd name="T13" fmla="*/ 0 h 461"/>
              </a:gdLst>
              <a:ahLst/>
              <a:cxnLst>
                <a:cxn ang="0">
                  <a:pos x="T0" y="T1"/>
                </a:cxn>
                <a:cxn ang="0">
                  <a:pos x="T2" y="T3"/>
                </a:cxn>
                <a:cxn ang="0">
                  <a:pos x="T4" y="T5"/>
                </a:cxn>
                <a:cxn ang="0">
                  <a:pos x="T6" y="T7"/>
                </a:cxn>
                <a:cxn ang="0">
                  <a:pos x="T8" y="T9"/>
                </a:cxn>
                <a:cxn ang="0">
                  <a:pos x="T10" y="T11"/>
                </a:cxn>
                <a:cxn ang="0">
                  <a:pos x="T12" y="T13"/>
                </a:cxn>
              </a:cxnLst>
              <a:rect l="0" t="0" r="r" b="b"/>
              <a:pathLst>
                <a:path w="285" h="461">
                  <a:moveTo>
                    <a:pt x="76" y="0"/>
                  </a:moveTo>
                  <a:lnTo>
                    <a:pt x="64" y="72"/>
                  </a:lnTo>
                  <a:lnTo>
                    <a:pt x="0" y="461"/>
                  </a:lnTo>
                  <a:lnTo>
                    <a:pt x="213" y="461"/>
                  </a:lnTo>
                  <a:lnTo>
                    <a:pt x="277" y="84"/>
                  </a:lnTo>
                  <a:lnTo>
                    <a:pt x="285" y="12"/>
                  </a:lnTo>
                  <a:lnTo>
                    <a:pt x="7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lIns="121920" tIns="60960" rIns="121920" bIns="6096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lumMod val="65000"/>
                  </a:srgbClr>
                </a:solidFill>
                <a:effectLst/>
                <a:uLnTx/>
                <a:uFillTx/>
                <a:latin typeface="Aa楷体" panose="02000500000000000000" pitchFamily="2" charset="-122"/>
                <a:ea typeface="+mn-ea"/>
                <a:cs typeface="+mn-cs"/>
                <a:sym typeface="YRDZST"/>
              </a:endParaRPr>
            </a:p>
          </p:txBody>
        </p:sp>
        <p:sp>
          <p:nvSpPr>
            <p:cNvPr id="22" name="Freeform 21">
              <a:extLst>
                <a:ext uri="{FF2B5EF4-FFF2-40B4-BE49-F238E27FC236}">
                  <a16:creationId xmlns:a16="http://schemas.microsoft.com/office/drawing/2014/main" id="{504392A0-3D64-4B1B-A864-221AB2524E13}"/>
                </a:ext>
              </a:extLst>
            </p:cNvPr>
            <p:cNvSpPr>
              <a:spLocks/>
            </p:cNvSpPr>
            <p:nvPr/>
          </p:nvSpPr>
          <p:spPr bwMode="auto">
            <a:xfrm>
              <a:off x="4334225" y="3000151"/>
              <a:ext cx="431127" cy="63640"/>
            </a:xfrm>
            <a:custGeom>
              <a:avLst/>
              <a:gdLst>
                <a:gd name="T0" fmla="*/ 68 w 68"/>
                <a:gd name="T1" fmla="*/ 9 h 10"/>
                <a:gd name="T2" fmla="*/ 38 w 68"/>
                <a:gd name="T3" fmla="*/ 5 h 10"/>
                <a:gd name="T4" fmla="*/ 0 w 68"/>
                <a:gd name="T5" fmla="*/ 3 h 10"/>
                <a:gd name="T6" fmla="*/ 31 w 68"/>
                <a:gd name="T7" fmla="*/ 7 h 10"/>
                <a:gd name="T8" fmla="*/ 49 w 68"/>
                <a:gd name="T9" fmla="*/ 9 h 10"/>
                <a:gd name="T10" fmla="*/ 68 w 68"/>
                <a:gd name="T11" fmla="*/ 9 h 10"/>
              </a:gdLst>
              <a:ahLst/>
              <a:cxnLst>
                <a:cxn ang="0">
                  <a:pos x="T0" y="T1"/>
                </a:cxn>
                <a:cxn ang="0">
                  <a:pos x="T2" y="T3"/>
                </a:cxn>
                <a:cxn ang="0">
                  <a:pos x="T4" y="T5"/>
                </a:cxn>
                <a:cxn ang="0">
                  <a:pos x="T6" y="T7"/>
                </a:cxn>
                <a:cxn ang="0">
                  <a:pos x="T8" y="T9"/>
                </a:cxn>
                <a:cxn ang="0">
                  <a:pos x="T10" y="T11"/>
                </a:cxn>
              </a:cxnLst>
              <a:rect l="0" t="0" r="r" b="b"/>
              <a:pathLst>
                <a:path w="68" h="10">
                  <a:moveTo>
                    <a:pt x="68" y="9"/>
                  </a:moveTo>
                  <a:cubicBezTo>
                    <a:pt x="58" y="8"/>
                    <a:pt x="48" y="6"/>
                    <a:pt x="38" y="5"/>
                  </a:cubicBezTo>
                  <a:cubicBezTo>
                    <a:pt x="26" y="3"/>
                    <a:pt x="13" y="0"/>
                    <a:pt x="0" y="3"/>
                  </a:cubicBezTo>
                  <a:cubicBezTo>
                    <a:pt x="11" y="4"/>
                    <a:pt x="21" y="6"/>
                    <a:pt x="31" y="7"/>
                  </a:cubicBezTo>
                  <a:cubicBezTo>
                    <a:pt x="37" y="8"/>
                    <a:pt x="43" y="9"/>
                    <a:pt x="49" y="9"/>
                  </a:cubicBezTo>
                  <a:cubicBezTo>
                    <a:pt x="55" y="10"/>
                    <a:pt x="62" y="8"/>
                    <a:pt x="68"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lIns="121920" tIns="60960" rIns="121920" bIns="6096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lumMod val="65000"/>
                  </a:srgbClr>
                </a:solidFill>
                <a:effectLst/>
                <a:uLnTx/>
                <a:uFillTx/>
                <a:latin typeface="Aa楷体" panose="02000500000000000000" pitchFamily="2" charset="-122"/>
                <a:ea typeface="+mn-ea"/>
                <a:cs typeface="+mn-cs"/>
                <a:sym typeface="YRDZST"/>
              </a:endParaRPr>
            </a:p>
          </p:txBody>
        </p:sp>
        <p:sp>
          <p:nvSpPr>
            <p:cNvPr id="23" name="Freeform 22">
              <a:extLst>
                <a:ext uri="{FF2B5EF4-FFF2-40B4-BE49-F238E27FC236}">
                  <a16:creationId xmlns:a16="http://schemas.microsoft.com/office/drawing/2014/main" id="{FEA85E13-815A-4A52-9596-FE34A101A670}"/>
                </a:ext>
              </a:extLst>
            </p:cNvPr>
            <p:cNvSpPr>
              <a:spLocks/>
            </p:cNvSpPr>
            <p:nvPr/>
          </p:nvSpPr>
          <p:spPr bwMode="auto">
            <a:xfrm>
              <a:off x="4334225" y="3012879"/>
              <a:ext cx="431127" cy="50912"/>
            </a:xfrm>
            <a:custGeom>
              <a:avLst/>
              <a:gdLst>
                <a:gd name="T0" fmla="*/ 0 w 68"/>
                <a:gd name="T1" fmla="*/ 1 h 8"/>
                <a:gd name="T2" fmla="*/ 27 w 68"/>
                <a:gd name="T3" fmla="*/ 4 h 8"/>
                <a:gd name="T4" fmla="*/ 56 w 68"/>
                <a:gd name="T5" fmla="*/ 7 h 8"/>
                <a:gd name="T6" fmla="*/ 60 w 68"/>
                <a:gd name="T7" fmla="*/ 7 h 8"/>
                <a:gd name="T8" fmla="*/ 64 w 68"/>
                <a:gd name="T9" fmla="*/ 7 h 8"/>
                <a:gd name="T10" fmla="*/ 68 w 68"/>
                <a:gd name="T11" fmla="*/ 7 h 8"/>
                <a:gd name="T12" fmla="*/ 13 w 68"/>
                <a:gd name="T13" fmla="*/ 0 h 8"/>
                <a:gd name="T14" fmla="*/ 9 w 68"/>
                <a:gd name="T15" fmla="*/ 0 h 8"/>
                <a:gd name="T16" fmla="*/ 5 w 68"/>
                <a:gd name="T17" fmla="*/ 0 h 8"/>
                <a:gd name="T18" fmla="*/ 0 w 68"/>
                <a:gd name="T19"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8">
                  <a:moveTo>
                    <a:pt x="0" y="1"/>
                  </a:moveTo>
                  <a:cubicBezTo>
                    <a:pt x="9" y="2"/>
                    <a:pt x="18" y="3"/>
                    <a:pt x="27" y="4"/>
                  </a:cubicBezTo>
                  <a:cubicBezTo>
                    <a:pt x="36" y="6"/>
                    <a:pt x="47" y="8"/>
                    <a:pt x="56" y="7"/>
                  </a:cubicBezTo>
                  <a:cubicBezTo>
                    <a:pt x="57" y="7"/>
                    <a:pt x="59" y="7"/>
                    <a:pt x="60" y="7"/>
                  </a:cubicBezTo>
                  <a:cubicBezTo>
                    <a:pt x="62" y="7"/>
                    <a:pt x="63" y="7"/>
                    <a:pt x="64" y="7"/>
                  </a:cubicBezTo>
                  <a:cubicBezTo>
                    <a:pt x="66" y="7"/>
                    <a:pt x="67" y="7"/>
                    <a:pt x="68" y="7"/>
                  </a:cubicBezTo>
                  <a:cubicBezTo>
                    <a:pt x="50" y="5"/>
                    <a:pt x="31" y="0"/>
                    <a:pt x="13" y="0"/>
                  </a:cubicBezTo>
                  <a:cubicBezTo>
                    <a:pt x="12" y="0"/>
                    <a:pt x="10" y="0"/>
                    <a:pt x="9" y="0"/>
                  </a:cubicBezTo>
                  <a:cubicBezTo>
                    <a:pt x="7" y="0"/>
                    <a:pt x="6" y="0"/>
                    <a:pt x="5" y="0"/>
                  </a:cubicBezTo>
                  <a:cubicBezTo>
                    <a:pt x="3" y="0"/>
                    <a:pt x="2" y="1"/>
                    <a:pt x="0"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lIns="121920" tIns="60960" rIns="121920" bIns="6096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lumMod val="65000"/>
                  </a:srgbClr>
                </a:solidFill>
                <a:effectLst/>
                <a:uLnTx/>
                <a:uFillTx/>
                <a:latin typeface="Aa楷体" panose="02000500000000000000" pitchFamily="2" charset="-122"/>
                <a:ea typeface="+mn-ea"/>
                <a:cs typeface="+mn-cs"/>
                <a:sym typeface="YRDZST"/>
              </a:endParaRPr>
            </a:p>
          </p:txBody>
        </p:sp>
        <p:sp>
          <p:nvSpPr>
            <p:cNvPr id="24" name="Freeform 23">
              <a:extLst>
                <a:ext uri="{FF2B5EF4-FFF2-40B4-BE49-F238E27FC236}">
                  <a16:creationId xmlns:a16="http://schemas.microsoft.com/office/drawing/2014/main" id="{136A3A76-9C32-4B31-9444-34386B7E426E}"/>
                </a:ext>
              </a:extLst>
            </p:cNvPr>
            <p:cNvSpPr>
              <a:spLocks/>
            </p:cNvSpPr>
            <p:nvPr/>
          </p:nvSpPr>
          <p:spPr bwMode="auto">
            <a:xfrm>
              <a:off x="4194228" y="3883157"/>
              <a:ext cx="494762" cy="147963"/>
            </a:xfrm>
            <a:custGeom>
              <a:avLst/>
              <a:gdLst>
                <a:gd name="T0" fmla="*/ 76 w 78"/>
                <a:gd name="T1" fmla="*/ 12 h 23"/>
                <a:gd name="T2" fmla="*/ 53 w 78"/>
                <a:gd name="T3" fmla="*/ 3 h 23"/>
                <a:gd name="T4" fmla="*/ 0 w 78"/>
                <a:gd name="T5" fmla="*/ 0 h 23"/>
                <a:gd name="T6" fmla="*/ 34 w 78"/>
                <a:gd name="T7" fmla="*/ 23 h 23"/>
                <a:gd name="T8" fmla="*/ 78 w 78"/>
                <a:gd name="T9" fmla="*/ 12 h 23"/>
                <a:gd name="T10" fmla="*/ 76 w 78"/>
                <a:gd name="T11" fmla="*/ 12 h 23"/>
              </a:gdLst>
              <a:ahLst/>
              <a:cxnLst>
                <a:cxn ang="0">
                  <a:pos x="T0" y="T1"/>
                </a:cxn>
                <a:cxn ang="0">
                  <a:pos x="T2" y="T3"/>
                </a:cxn>
                <a:cxn ang="0">
                  <a:pos x="T4" y="T5"/>
                </a:cxn>
                <a:cxn ang="0">
                  <a:pos x="T6" y="T7"/>
                </a:cxn>
                <a:cxn ang="0">
                  <a:pos x="T8" y="T9"/>
                </a:cxn>
                <a:cxn ang="0">
                  <a:pos x="T10" y="T11"/>
                </a:cxn>
              </a:cxnLst>
              <a:rect l="0" t="0" r="r" b="b"/>
              <a:pathLst>
                <a:path w="78" h="23">
                  <a:moveTo>
                    <a:pt x="76" y="12"/>
                  </a:moveTo>
                  <a:cubicBezTo>
                    <a:pt x="68" y="11"/>
                    <a:pt x="60" y="8"/>
                    <a:pt x="53" y="3"/>
                  </a:cubicBezTo>
                  <a:cubicBezTo>
                    <a:pt x="0" y="0"/>
                    <a:pt x="0" y="0"/>
                    <a:pt x="0" y="0"/>
                  </a:cubicBezTo>
                  <a:cubicBezTo>
                    <a:pt x="11" y="8"/>
                    <a:pt x="21" y="22"/>
                    <a:pt x="34" y="23"/>
                  </a:cubicBezTo>
                  <a:cubicBezTo>
                    <a:pt x="48" y="23"/>
                    <a:pt x="64" y="11"/>
                    <a:pt x="78" y="12"/>
                  </a:cubicBezTo>
                  <a:cubicBezTo>
                    <a:pt x="78" y="12"/>
                    <a:pt x="77" y="12"/>
                    <a:pt x="76"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lIns="121920" tIns="60960" rIns="121920" bIns="6096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lumMod val="65000"/>
                  </a:srgbClr>
                </a:solidFill>
                <a:effectLst/>
                <a:uLnTx/>
                <a:uFillTx/>
                <a:latin typeface="Aa楷体" panose="02000500000000000000" pitchFamily="2" charset="-122"/>
                <a:ea typeface="+mn-ea"/>
                <a:cs typeface="+mn-cs"/>
                <a:sym typeface="YRDZST"/>
              </a:endParaRPr>
            </a:p>
          </p:txBody>
        </p:sp>
        <p:sp>
          <p:nvSpPr>
            <p:cNvPr id="25" name="Freeform 24">
              <a:extLst>
                <a:ext uri="{FF2B5EF4-FFF2-40B4-BE49-F238E27FC236}">
                  <a16:creationId xmlns:a16="http://schemas.microsoft.com/office/drawing/2014/main" id="{CB9DBEC6-E044-43A4-BD00-4E9A9A7D3E08}"/>
                </a:ext>
              </a:extLst>
            </p:cNvPr>
            <p:cNvSpPr>
              <a:spLocks/>
            </p:cNvSpPr>
            <p:nvPr/>
          </p:nvSpPr>
          <p:spPr bwMode="auto">
            <a:xfrm>
              <a:off x="4359679" y="3108339"/>
              <a:ext cx="666577" cy="762090"/>
            </a:xfrm>
            <a:custGeom>
              <a:avLst/>
              <a:gdLst>
                <a:gd name="T0" fmla="*/ 101 w 105"/>
                <a:gd name="T1" fmla="*/ 49 h 120"/>
                <a:gd name="T2" fmla="*/ 63 w 105"/>
                <a:gd name="T3" fmla="*/ 6 h 120"/>
                <a:gd name="T4" fmla="*/ 62 w 105"/>
                <a:gd name="T5" fmla="*/ 6 h 120"/>
                <a:gd name="T6" fmla="*/ 11 w 105"/>
                <a:gd name="T7" fmla="*/ 0 h 120"/>
                <a:gd name="T8" fmla="*/ 11 w 105"/>
                <a:gd name="T9" fmla="*/ 0 h 120"/>
                <a:gd name="T10" fmla="*/ 12 w 105"/>
                <a:gd name="T11" fmla="*/ 0 h 120"/>
                <a:gd name="T12" fmla="*/ 12 w 105"/>
                <a:gd name="T13" fmla="*/ 0 h 120"/>
                <a:gd name="T14" fmla="*/ 51 w 105"/>
                <a:gd name="T15" fmla="*/ 62 h 120"/>
                <a:gd name="T16" fmla="*/ 0 w 105"/>
                <a:gd name="T17" fmla="*/ 117 h 120"/>
                <a:gd name="T18" fmla="*/ 41 w 105"/>
                <a:gd name="T19" fmla="*/ 119 h 120"/>
                <a:gd name="T20" fmla="*/ 75 w 105"/>
                <a:gd name="T21" fmla="*/ 113 h 120"/>
                <a:gd name="T22" fmla="*/ 101 w 105"/>
                <a:gd name="T23" fmla="*/ 49 h 120"/>
                <a:gd name="T24" fmla="*/ 101 w 105"/>
                <a:gd name="T25" fmla="*/ 4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 h="120">
                  <a:moveTo>
                    <a:pt x="101" y="49"/>
                  </a:moveTo>
                  <a:cubicBezTo>
                    <a:pt x="97" y="29"/>
                    <a:pt x="84" y="10"/>
                    <a:pt x="63" y="6"/>
                  </a:cubicBezTo>
                  <a:cubicBezTo>
                    <a:pt x="62" y="6"/>
                    <a:pt x="62" y="6"/>
                    <a:pt x="62" y="6"/>
                  </a:cubicBezTo>
                  <a:cubicBezTo>
                    <a:pt x="11" y="0"/>
                    <a:pt x="11" y="0"/>
                    <a:pt x="11" y="0"/>
                  </a:cubicBezTo>
                  <a:cubicBezTo>
                    <a:pt x="11" y="0"/>
                    <a:pt x="11" y="0"/>
                    <a:pt x="11" y="0"/>
                  </a:cubicBezTo>
                  <a:cubicBezTo>
                    <a:pt x="11" y="0"/>
                    <a:pt x="12" y="0"/>
                    <a:pt x="12" y="0"/>
                  </a:cubicBezTo>
                  <a:cubicBezTo>
                    <a:pt x="12" y="0"/>
                    <a:pt x="12" y="0"/>
                    <a:pt x="12" y="0"/>
                  </a:cubicBezTo>
                  <a:cubicBezTo>
                    <a:pt x="40" y="6"/>
                    <a:pt x="53" y="36"/>
                    <a:pt x="51" y="62"/>
                  </a:cubicBezTo>
                  <a:cubicBezTo>
                    <a:pt x="48" y="88"/>
                    <a:pt x="30" y="118"/>
                    <a:pt x="0" y="117"/>
                  </a:cubicBezTo>
                  <a:cubicBezTo>
                    <a:pt x="14" y="117"/>
                    <a:pt x="27" y="118"/>
                    <a:pt x="41" y="119"/>
                  </a:cubicBezTo>
                  <a:cubicBezTo>
                    <a:pt x="53" y="119"/>
                    <a:pt x="64" y="120"/>
                    <a:pt x="75" y="113"/>
                  </a:cubicBezTo>
                  <a:cubicBezTo>
                    <a:pt x="96" y="100"/>
                    <a:pt x="105" y="72"/>
                    <a:pt x="101" y="49"/>
                  </a:cubicBezTo>
                  <a:cubicBezTo>
                    <a:pt x="100" y="42"/>
                    <a:pt x="102" y="56"/>
                    <a:pt x="101" y="4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lIns="121920" tIns="60960" rIns="121920" bIns="6096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lumMod val="65000"/>
                  </a:srgbClr>
                </a:solidFill>
                <a:effectLst/>
                <a:uLnTx/>
                <a:uFillTx/>
                <a:latin typeface="Aa楷体" panose="02000500000000000000" pitchFamily="2" charset="-122"/>
                <a:ea typeface="+mn-ea"/>
                <a:cs typeface="+mn-cs"/>
                <a:sym typeface="YRDZST"/>
              </a:endParaRPr>
            </a:p>
          </p:txBody>
        </p:sp>
        <p:sp>
          <p:nvSpPr>
            <p:cNvPr id="26" name="Freeform 25">
              <a:extLst>
                <a:ext uri="{FF2B5EF4-FFF2-40B4-BE49-F238E27FC236}">
                  <a16:creationId xmlns:a16="http://schemas.microsoft.com/office/drawing/2014/main" id="{A3BDF835-4E3E-409D-8D5F-465C28F966B6}"/>
                </a:ext>
              </a:extLst>
            </p:cNvPr>
            <p:cNvSpPr>
              <a:spLocks/>
            </p:cNvSpPr>
            <p:nvPr/>
          </p:nvSpPr>
          <p:spPr bwMode="auto">
            <a:xfrm>
              <a:off x="4448768" y="2325567"/>
              <a:ext cx="820892" cy="133644"/>
            </a:xfrm>
            <a:custGeom>
              <a:avLst/>
              <a:gdLst>
                <a:gd name="T0" fmla="*/ 0 w 517"/>
                <a:gd name="T1" fmla="*/ 0 h 84"/>
                <a:gd name="T2" fmla="*/ 204 w 517"/>
                <a:gd name="T3" fmla="*/ 40 h 84"/>
                <a:gd name="T4" fmla="*/ 517 w 517"/>
                <a:gd name="T5" fmla="*/ 84 h 84"/>
                <a:gd name="T6" fmla="*/ 316 w 517"/>
                <a:gd name="T7" fmla="*/ 44 h 84"/>
                <a:gd name="T8" fmla="*/ 0 w 517"/>
                <a:gd name="T9" fmla="*/ 0 h 84"/>
              </a:gdLst>
              <a:ahLst/>
              <a:cxnLst>
                <a:cxn ang="0">
                  <a:pos x="T0" y="T1"/>
                </a:cxn>
                <a:cxn ang="0">
                  <a:pos x="T2" y="T3"/>
                </a:cxn>
                <a:cxn ang="0">
                  <a:pos x="T4" y="T5"/>
                </a:cxn>
                <a:cxn ang="0">
                  <a:pos x="T6" y="T7"/>
                </a:cxn>
                <a:cxn ang="0">
                  <a:pos x="T8" y="T9"/>
                </a:cxn>
              </a:cxnLst>
              <a:rect l="0" t="0" r="r" b="b"/>
              <a:pathLst>
                <a:path w="517" h="84">
                  <a:moveTo>
                    <a:pt x="0" y="0"/>
                  </a:moveTo>
                  <a:lnTo>
                    <a:pt x="204" y="40"/>
                  </a:lnTo>
                  <a:lnTo>
                    <a:pt x="517" y="84"/>
                  </a:lnTo>
                  <a:lnTo>
                    <a:pt x="316" y="44"/>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lIns="121920" tIns="60960" rIns="121920" bIns="6096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lumMod val="65000"/>
                  </a:srgbClr>
                </a:solidFill>
                <a:effectLst/>
                <a:uLnTx/>
                <a:uFillTx/>
                <a:latin typeface="Aa楷体" panose="02000500000000000000" pitchFamily="2" charset="-122"/>
                <a:ea typeface="+mn-ea"/>
                <a:cs typeface="+mn-cs"/>
                <a:sym typeface="YRDZST"/>
              </a:endParaRPr>
            </a:p>
          </p:txBody>
        </p:sp>
        <p:sp>
          <p:nvSpPr>
            <p:cNvPr id="27" name="Freeform 26">
              <a:extLst>
                <a:ext uri="{FF2B5EF4-FFF2-40B4-BE49-F238E27FC236}">
                  <a16:creationId xmlns:a16="http://schemas.microsoft.com/office/drawing/2014/main" id="{B07B56E5-0E0E-45C0-B19C-1A28582A65A6}"/>
                </a:ext>
              </a:extLst>
            </p:cNvPr>
            <p:cNvSpPr>
              <a:spLocks/>
            </p:cNvSpPr>
            <p:nvPr/>
          </p:nvSpPr>
          <p:spPr bwMode="auto">
            <a:xfrm>
              <a:off x="5223524" y="419548"/>
              <a:ext cx="615670" cy="318200"/>
            </a:xfrm>
            <a:custGeom>
              <a:avLst/>
              <a:gdLst>
                <a:gd name="T0" fmla="*/ 85 w 97"/>
                <a:gd name="T1" fmla="*/ 41 h 50"/>
                <a:gd name="T2" fmla="*/ 0 w 97"/>
                <a:gd name="T3" fmla="*/ 0 h 50"/>
                <a:gd name="T4" fmla="*/ 50 w 97"/>
                <a:gd name="T5" fmla="*/ 30 h 50"/>
                <a:gd name="T6" fmla="*/ 97 w 97"/>
                <a:gd name="T7" fmla="*/ 50 h 50"/>
                <a:gd name="T8" fmla="*/ 85 w 97"/>
                <a:gd name="T9" fmla="*/ 41 h 50"/>
                <a:gd name="T10" fmla="*/ 85 w 97"/>
                <a:gd name="T11" fmla="*/ 41 h 50"/>
              </a:gdLst>
              <a:ahLst/>
              <a:cxnLst>
                <a:cxn ang="0">
                  <a:pos x="T0" y="T1"/>
                </a:cxn>
                <a:cxn ang="0">
                  <a:pos x="T2" y="T3"/>
                </a:cxn>
                <a:cxn ang="0">
                  <a:pos x="T4" y="T5"/>
                </a:cxn>
                <a:cxn ang="0">
                  <a:pos x="T6" y="T7"/>
                </a:cxn>
                <a:cxn ang="0">
                  <a:pos x="T8" y="T9"/>
                </a:cxn>
                <a:cxn ang="0">
                  <a:pos x="T10" y="T11"/>
                </a:cxn>
              </a:cxnLst>
              <a:rect l="0" t="0" r="r" b="b"/>
              <a:pathLst>
                <a:path w="97" h="50">
                  <a:moveTo>
                    <a:pt x="85" y="41"/>
                  </a:moveTo>
                  <a:cubicBezTo>
                    <a:pt x="59" y="23"/>
                    <a:pt x="29" y="12"/>
                    <a:pt x="0" y="0"/>
                  </a:cubicBezTo>
                  <a:cubicBezTo>
                    <a:pt x="18" y="8"/>
                    <a:pt x="35" y="18"/>
                    <a:pt x="50" y="30"/>
                  </a:cubicBezTo>
                  <a:cubicBezTo>
                    <a:pt x="97" y="50"/>
                    <a:pt x="97" y="50"/>
                    <a:pt x="97" y="50"/>
                  </a:cubicBezTo>
                  <a:cubicBezTo>
                    <a:pt x="93" y="47"/>
                    <a:pt x="90" y="44"/>
                    <a:pt x="85" y="41"/>
                  </a:cubicBezTo>
                  <a:cubicBezTo>
                    <a:pt x="82" y="38"/>
                    <a:pt x="90" y="44"/>
                    <a:pt x="85"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lIns="121920" tIns="60960" rIns="121920" bIns="6096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lumMod val="65000"/>
                  </a:srgbClr>
                </a:solidFill>
                <a:effectLst/>
                <a:uLnTx/>
                <a:uFillTx/>
                <a:latin typeface="Aa楷体" panose="02000500000000000000" pitchFamily="2" charset="-122"/>
                <a:ea typeface="+mn-ea"/>
                <a:cs typeface="+mn-cs"/>
                <a:sym typeface="YRDZST"/>
              </a:endParaRPr>
            </a:p>
          </p:txBody>
        </p:sp>
        <p:sp>
          <p:nvSpPr>
            <p:cNvPr id="28" name="Freeform 27">
              <a:extLst>
                <a:ext uri="{FF2B5EF4-FFF2-40B4-BE49-F238E27FC236}">
                  <a16:creationId xmlns:a16="http://schemas.microsoft.com/office/drawing/2014/main" id="{F68A4EA9-7A3F-4D36-864C-8D9BD3D658DF}"/>
                </a:ext>
              </a:extLst>
            </p:cNvPr>
            <p:cNvSpPr>
              <a:spLocks/>
            </p:cNvSpPr>
            <p:nvPr/>
          </p:nvSpPr>
          <p:spPr bwMode="auto">
            <a:xfrm>
              <a:off x="4937166" y="1735306"/>
              <a:ext cx="846346" cy="723905"/>
            </a:xfrm>
            <a:custGeom>
              <a:avLst/>
              <a:gdLst>
                <a:gd name="T0" fmla="*/ 133 w 133"/>
                <a:gd name="T1" fmla="*/ 32 h 114"/>
                <a:gd name="T2" fmla="*/ 40 w 133"/>
                <a:gd name="T3" fmla="*/ 19 h 114"/>
                <a:gd name="T4" fmla="*/ 2 w 133"/>
                <a:gd name="T5" fmla="*/ 104 h 114"/>
                <a:gd name="T6" fmla="*/ 52 w 133"/>
                <a:gd name="T7" fmla="*/ 114 h 114"/>
                <a:gd name="T8" fmla="*/ 133 w 133"/>
                <a:gd name="T9" fmla="*/ 32 h 114"/>
                <a:gd name="T10" fmla="*/ 133 w 133"/>
                <a:gd name="T11" fmla="*/ 32 h 114"/>
              </a:gdLst>
              <a:ahLst/>
              <a:cxnLst>
                <a:cxn ang="0">
                  <a:pos x="T0" y="T1"/>
                </a:cxn>
                <a:cxn ang="0">
                  <a:pos x="T2" y="T3"/>
                </a:cxn>
                <a:cxn ang="0">
                  <a:pos x="T4" y="T5"/>
                </a:cxn>
                <a:cxn ang="0">
                  <a:pos x="T6" y="T7"/>
                </a:cxn>
                <a:cxn ang="0">
                  <a:pos x="T8" y="T9"/>
                </a:cxn>
                <a:cxn ang="0">
                  <a:pos x="T10" y="T11"/>
                </a:cxn>
              </a:cxnLst>
              <a:rect l="0" t="0" r="r" b="b"/>
              <a:pathLst>
                <a:path w="133" h="114">
                  <a:moveTo>
                    <a:pt x="133" y="32"/>
                  </a:moveTo>
                  <a:cubicBezTo>
                    <a:pt x="103" y="24"/>
                    <a:pt x="70" y="0"/>
                    <a:pt x="40" y="19"/>
                  </a:cubicBezTo>
                  <a:cubicBezTo>
                    <a:pt x="15" y="35"/>
                    <a:pt x="0" y="74"/>
                    <a:pt x="2" y="104"/>
                  </a:cubicBezTo>
                  <a:cubicBezTo>
                    <a:pt x="19" y="108"/>
                    <a:pt x="35" y="111"/>
                    <a:pt x="52" y="114"/>
                  </a:cubicBezTo>
                  <a:cubicBezTo>
                    <a:pt x="49" y="71"/>
                    <a:pt x="85" y="19"/>
                    <a:pt x="133" y="32"/>
                  </a:cubicBezTo>
                  <a:cubicBezTo>
                    <a:pt x="120" y="28"/>
                    <a:pt x="131" y="31"/>
                    <a:pt x="133" y="3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lIns="121920" tIns="60960" rIns="121920" bIns="6096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lumMod val="65000"/>
                  </a:srgbClr>
                </a:solidFill>
                <a:effectLst/>
                <a:uLnTx/>
                <a:uFillTx/>
                <a:latin typeface="Aa楷体" panose="02000500000000000000" pitchFamily="2" charset="-122"/>
                <a:ea typeface="+mn-ea"/>
                <a:cs typeface="+mn-cs"/>
                <a:sym typeface="YRDZST"/>
              </a:endParaRPr>
            </a:p>
          </p:txBody>
        </p:sp>
        <p:sp>
          <p:nvSpPr>
            <p:cNvPr id="29" name="Freeform 28">
              <a:extLst>
                <a:ext uri="{FF2B5EF4-FFF2-40B4-BE49-F238E27FC236}">
                  <a16:creationId xmlns:a16="http://schemas.microsoft.com/office/drawing/2014/main" id="{AE429A9C-33EE-4E20-9DAB-CA9306AFCC00}"/>
                </a:ext>
              </a:extLst>
            </p:cNvPr>
            <p:cNvSpPr>
              <a:spLocks/>
            </p:cNvSpPr>
            <p:nvPr/>
          </p:nvSpPr>
          <p:spPr bwMode="auto">
            <a:xfrm>
              <a:off x="4429677" y="4328637"/>
              <a:ext cx="984752" cy="171828"/>
            </a:xfrm>
            <a:custGeom>
              <a:avLst/>
              <a:gdLst>
                <a:gd name="T0" fmla="*/ 0 w 155"/>
                <a:gd name="T1" fmla="*/ 27 h 27"/>
                <a:gd name="T2" fmla="*/ 53 w 155"/>
                <a:gd name="T3" fmla="*/ 26 h 27"/>
                <a:gd name="T4" fmla="*/ 79 w 155"/>
                <a:gd name="T5" fmla="*/ 24 h 27"/>
                <a:gd name="T6" fmla="*/ 105 w 155"/>
                <a:gd name="T7" fmla="*/ 19 h 27"/>
                <a:gd name="T8" fmla="*/ 130 w 155"/>
                <a:gd name="T9" fmla="*/ 11 h 27"/>
                <a:gd name="T10" fmla="*/ 155 w 155"/>
                <a:gd name="T11" fmla="*/ 0 h 27"/>
                <a:gd name="T12" fmla="*/ 105 w 155"/>
                <a:gd name="T13" fmla="*/ 0 h 27"/>
                <a:gd name="T14" fmla="*/ 80 w 155"/>
                <a:gd name="T15" fmla="*/ 11 h 27"/>
                <a:gd name="T16" fmla="*/ 53 w 155"/>
                <a:gd name="T17" fmla="*/ 20 h 27"/>
                <a:gd name="T18" fmla="*/ 27 w 155"/>
                <a:gd name="T19" fmla="*/ 25 h 27"/>
                <a:gd name="T20" fmla="*/ 0 w 155"/>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5" h="27">
                  <a:moveTo>
                    <a:pt x="0" y="27"/>
                  </a:moveTo>
                  <a:cubicBezTo>
                    <a:pt x="18" y="27"/>
                    <a:pt x="35" y="27"/>
                    <a:pt x="53" y="26"/>
                  </a:cubicBezTo>
                  <a:cubicBezTo>
                    <a:pt x="61" y="26"/>
                    <a:pt x="70" y="26"/>
                    <a:pt x="79" y="24"/>
                  </a:cubicBezTo>
                  <a:cubicBezTo>
                    <a:pt x="87" y="23"/>
                    <a:pt x="96" y="22"/>
                    <a:pt x="105" y="19"/>
                  </a:cubicBezTo>
                  <a:cubicBezTo>
                    <a:pt x="113" y="17"/>
                    <a:pt x="122" y="14"/>
                    <a:pt x="130" y="11"/>
                  </a:cubicBezTo>
                  <a:cubicBezTo>
                    <a:pt x="139" y="8"/>
                    <a:pt x="147" y="4"/>
                    <a:pt x="155" y="0"/>
                  </a:cubicBezTo>
                  <a:cubicBezTo>
                    <a:pt x="105" y="0"/>
                    <a:pt x="105" y="0"/>
                    <a:pt x="105" y="0"/>
                  </a:cubicBezTo>
                  <a:cubicBezTo>
                    <a:pt x="97" y="4"/>
                    <a:pt x="88" y="8"/>
                    <a:pt x="80" y="11"/>
                  </a:cubicBezTo>
                  <a:cubicBezTo>
                    <a:pt x="71" y="15"/>
                    <a:pt x="62" y="18"/>
                    <a:pt x="53" y="20"/>
                  </a:cubicBezTo>
                  <a:cubicBezTo>
                    <a:pt x="45" y="22"/>
                    <a:pt x="36" y="24"/>
                    <a:pt x="27" y="25"/>
                  </a:cubicBezTo>
                  <a:cubicBezTo>
                    <a:pt x="18" y="26"/>
                    <a:pt x="9" y="27"/>
                    <a:pt x="0" y="2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lIns="121920" tIns="60960" rIns="121920" bIns="6096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lumMod val="65000"/>
                  </a:srgbClr>
                </a:solidFill>
                <a:effectLst/>
                <a:uLnTx/>
                <a:uFillTx/>
                <a:latin typeface="Aa楷体" panose="02000500000000000000" pitchFamily="2" charset="-122"/>
                <a:ea typeface="+mn-ea"/>
                <a:cs typeface="+mn-cs"/>
                <a:sym typeface="YRDZST"/>
              </a:endParaRPr>
            </a:p>
          </p:txBody>
        </p:sp>
        <p:sp>
          <p:nvSpPr>
            <p:cNvPr id="30" name="Freeform 29">
              <a:extLst>
                <a:ext uri="{FF2B5EF4-FFF2-40B4-BE49-F238E27FC236}">
                  <a16:creationId xmlns:a16="http://schemas.microsoft.com/office/drawing/2014/main" id="{5ADBBD5A-45C2-4A24-AC39-A61C53AA2EB9}"/>
                </a:ext>
              </a:extLst>
            </p:cNvPr>
            <p:cNvSpPr>
              <a:spLocks/>
            </p:cNvSpPr>
            <p:nvPr/>
          </p:nvSpPr>
          <p:spPr bwMode="auto">
            <a:xfrm>
              <a:off x="4415359" y="4328637"/>
              <a:ext cx="986343" cy="171828"/>
            </a:xfrm>
            <a:custGeom>
              <a:avLst/>
              <a:gdLst>
                <a:gd name="T0" fmla="*/ 0 w 155"/>
                <a:gd name="T1" fmla="*/ 27 h 27"/>
                <a:gd name="T2" fmla="*/ 53 w 155"/>
                <a:gd name="T3" fmla="*/ 26 h 27"/>
                <a:gd name="T4" fmla="*/ 79 w 155"/>
                <a:gd name="T5" fmla="*/ 24 h 27"/>
                <a:gd name="T6" fmla="*/ 105 w 155"/>
                <a:gd name="T7" fmla="*/ 19 h 27"/>
                <a:gd name="T8" fmla="*/ 130 w 155"/>
                <a:gd name="T9" fmla="*/ 11 h 27"/>
                <a:gd name="T10" fmla="*/ 155 w 155"/>
                <a:gd name="T11" fmla="*/ 0 h 27"/>
                <a:gd name="T12" fmla="*/ 105 w 155"/>
                <a:gd name="T13" fmla="*/ 0 h 27"/>
                <a:gd name="T14" fmla="*/ 80 w 155"/>
                <a:gd name="T15" fmla="*/ 11 h 27"/>
                <a:gd name="T16" fmla="*/ 53 w 155"/>
                <a:gd name="T17" fmla="*/ 20 h 27"/>
                <a:gd name="T18" fmla="*/ 27 w 155"/>
                <a:gd name="T19" fmla="*/ 25 h 27"/>
                <a:gd name="T20" fmla="*/ 0 w 155"/>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5" h="27">
                  <a:moveTo>
                    <a:pt x="0" y="27"/>
                  </a:moveTo>
                  <a:cubicBezTo>
                    <a:pt x="53" y="26"/>
                    <a:pt x="53" y="26"/>
                    <a:pt x="53" y="26"/>
                  </a:cubicBezTo>
                  <a:cubicBezTo>
                    <a:pt x="61" y="26"/>
                    <a:pt x="70" y="26"/>
                    <a:pt x="79" y="24"/>
                  </a:cubicBezTo>
                  <a:cubicBezTo>
                    <a:pt x="87" y="23"/>
                    <a:pt x="96" y="22"/>
                    <a:pt x="105" y="19"/>
                  </a:cubicBezTo>
                  <a:cubicBezTo>
                    <a:pt x="113" y="17"/>
                    <a:pt x="122" y="14"/>
                    <a:pt x="130" y="11"/>
                  </a:cubicBezTo>
                  <a:cubicBezTo>
                    <a:pt x="139" y="8"/>
                    <a:pt x="147" y="4"/>
                    <a:pt x="155" y="0"/>
                  </a:cubicBezTo>
                  <a:cubicBezTo>
                    <a:pt x="105" y="0"/>
                    <a:pt x="105" y="0"/>
                    <a:pt x="105" y="0"/>
                  </a:cubicBezTo>
                  <a:cubicBezTo>
                    <a:pt x="97" y="4"/>
                    <a:pt x="88" y="8"/>
                    <a:pt x="80" y="11"/>
                  </a:cubicBezTo>
                  <a:cubicBezTo>
                    <a:pt x="71" y="15"/>
                    <a:pt x="62" y="18"/>
                    <a:pt x="53" y="20"/>
                  </a:cubicBezTo>
                  <a:cubicBezTo>
                    <a:pt x="45" y="22"/>
                    <a:pt x="36" y="24"/>
                    <a:pt x="27" y="25"/>
                  </a:cubicBezTo>
                  <a:cubicBezTo>
                    <a:pt x="18" y="26"/>
                    <a:pt x="9" y="27"/>
                    <a:pt x="0" y="2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lIns="121920" tIns="60960" rIns="121920" bIns="6096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lumMod val="65000"/>
                  </a:srgbClr>
                </a:solidFill>
                <a:effectLst/>
                <a:uLnTx/>
                <a:uFillTx/>
                <a:latin typeface="Aa楷体" panose="02000500000000000000" pitchFamily="2" charset="-122"/>
                <a:ea typeface="+mn-ea"/>
                <a:cs typeface="+mn-cs"/>
                <a:sym typeface="YRDZST"/>
              </a:endParaRPr>
            </a:p>
          </p:txBody>
        </p:sp>
        <p:sp>
          <p:nvSpPr>
            <p:cNvPr id="31" name="Freeform 30">
              <a:extLst>
                <a:ext uri="{FF2B5EF4-FFF2-40B4-BE49-F238E27FC236}">
                  <a16:creationId xmlns:a16="http://schemas.microsoft.com/office/drawing/2014/main" id="{94C8B87D-C77F-4578-A162-2B93AF0CFBFC}"/>
                </a:ext>
              </a:extLst>
            </p:cNvPr>
            <p:cNvSpPr>
              <a:spLocks/>
            </p:cNvSpPr>
            <p:nvPr/>
          </p:nvSpPr>
          <p:spPr bwMode="auto">
            <a:xfrm>
              <a:off x="4833760" y="3318351"/>
              <a:ext cx="814529" cy="1010286"/>
            </a:xfrm>
            <a:custGeom>
              <a:avLst/>
              <a:gdLst>
                <a:gd name="T0" fmla="*/ 69 w 128"/>
                <a:gd name="T1" fmla="*/ 55 h 159"/>
                <a:gd name="T2" fmla="*/ 128 w 128"/>
                <a:gd name="T3" fmla="*/ 20 h 159"/>
                <a:gd name="T4" fmla="*/ 97 w 128"/>
                <a:gd name="T5" fmla="*/ 17 h 159"/>
                <a:gd name="T6" fmla="*/ 62 w 128"/>
                <a:gd name="T7" fmla="*/ 2 h 159"/>
                <a:gd name="T8" fmla="*/ 18 w 128"/>
                <a:gd name="T9" fmla="*/ 51 h 159"/>
                <a:gd name="T10" fmla="*/ 39 w 128"/>
                <a:gd name="T11" fmla="*/ 159 h 159"/>
                <a:gd name="T12" fmla="*/ 89 w 128"/>
                <a:gd name="T13" fmla="*/ 159 h 159"/>
                <a:gd name="T14" fmla="*/ 69 w 128"/>
                <a:gd name="T15" fmla="*/ 55 h 159"/>
                <a:gd name="T16" fmla="*/ 69 w 128"/>
                <a:gd name="T17" fmla="*/ 5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159">
                  <a:moveTo>
                    <a:pt x="69" y="55"/>
                  </a:moveTo>
                  <a:cubicBezTo>
                    <a:pt x="80" y="33"/>
                    <a:pt x="103" y="17"/>
                    <a:pt x="128" y="20"/>
                  </a:cubicBezTo>
                  <a:cubicBezTo>
                    <a:pt x="118" y="19"/>
                    <a:pt x="107" y="18"/>
                    <a:pt x="97" y="17"/>
                  </a:cubicBezTo>
                  <a:cubicBezTo>
                    <a:pt x="86" y="16"/>
                    <a:pt x="73" y="0"/>
                    <a:pt x="62" y="2"/>
                  </a:cubicBezTo>
                  <a:cubicBezTo>
                    <a:pt x="43" y="6"/>
                    <a:pt x="27" y="34"/>
                    <a:pt x="18" y="51"/>
                  </a:cubicBezTo>
                  <a:cubicBezTo>
                    <a:pt x="0" y="86"/>
                    <a:pt x="6" y="135"/>
                    <a:pt x="39" y="159"/>
                  </a:cubicBezTo>
                  <a:cubicBezTo>
                    <a:pt x="89" y="159"/>
                    <a:pt x="89" y="159"/>
                    <a:pt x="89" y="159"/>
                  </a:cubicBezTo>
                  <a:cubicBezTo>
                    <a:pt x="58" y="136"/>
                    <a:pt x="51" y="89"/>
                    <a:pt x="69" y="55"/>
                  </a:cubicBezTo>
                  <a:cubicBezTo>
                    <a:pt x="73" y="47"/>
                    <a:pt x="65" y="63"/>
                    <a:pt x="69" y="5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lIns="121920" tIns="60960" rIns="121920" bIns="6096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lumMod val="65000"/>
                  </a:srgbClr>
                </a:solidFill>
                <a:effectLst/>
                <a:uLnTx/>
                <a:uFillTx/>
                <a:latin typeface="Aa楷体" panose="02000500000000000000" pitchFamily="2" charset="-122"/>
                <a:ea typeface="+mn-ea"/>
                <a:cs typeface="+mn-cs"/>
                <a:sym typeface="YRDZST"/>
              </a:endParaRPr>
            </a:p>
          </p:txBody>
        </p:sp>
        <p:sp>
          <p:nvSpPr>
            <p:cNvPr id="32" name="Freeform 31">
              <a:extLst>
                <a:ext uri="{FF2B5EF4-FFF2-40B4-BE49-F238E27FC236}">
                  <a16:creationId xmlns:a16="http://schemas.microsoft.com/office/drawing/2014/main" id="{614935E6-109A-40E8-85AA-597D9B47D9D7}"/>
                </a:ext>
              </a:extLst>
            </p:cNvPr>
            <p:cNvSpPr>
              <a:spLocks/>
            </p:cNvSpPr>
            <p:nvPr/>
          </p:nvSpPr>
          <p:spPr bwMode="auto">
            <a:xfrm>
              <a:off x="5446247" y="1951682"/>
              <a:ext cx="553625" cy="693676"/>
            </a:xfrm>
            <a:custGeom>
              <a:avLst/>
              <a:gdLst>
                <a:gd name="T0" fmla="*/ 83 w 87"/>
                <a:gd name="T1" fmla="*/ 54 h 109"/>
                <a:gd name="T2" fmla="*/ 49 w 87"/>
                <a:gd name="T3" fmla="*/ 12 h 109"/>
                <a:gd name="T4" fmla="*/ 0 w 87"/>
                <a:gd name="T5" fmla="*/ 0 h 109"/>
                <a:gd name="T6" fmla="*/ 20 w 87"/>
                <a:gd name="T7" fmla="*/ 100 h 109"/>
                <a:gd name="T8" fmla="*/ 68 w 87"/>
                <a:gd name="T9" fmla="*/ 109 h 109"/>
                <a:gd name="T10" fmla="*/ 83 w 87"/>
                <a:gd name="T11" fmla="*/ 54 h 109"/>
                <a:gd name="T12" fmla="*/ 83 w 87"/>
                <a:gd name="T13" fmla="*/ 54 h 109"/>
              </a:gdLst>
              <a:ahLst/>
              <a:cxnLst>
                <a:cxn ang="0">
                  <a:pos x="T0" y="T1"/>
                </a:cxn>
                <a:cxn ang="0">
                  <a:pos x="T2" y="T3"/>
                </a:cxn>
                <a:cxn ang="0">
                  <a:pos x="T4" y="T5"/>
                </a:cxn>
                <a:cxn ang="0">
                  <a:pos x="T6" y="T7"/>
                </a:cxn>
                <a:cxn ang="0">
                  <a:pos x="T8" y="T9"/>
                </a:cxn>
                <a:cxn ang="0">
                  <a:pos x="T10" y="T11"/>
                </a:cxn>
                <a:cxn ang="0">
                  <a:pos x="T12" y="T13"/>
                </a:cxn>
              </a:cxnLst>
              <a:rect l="0" t="0" r="r" b="b"/>
              <a:pathLst>
                <a:path w="87" h="109">
                  <a:moveTo>
                    <a:pt x="83" y="54"/>
                  </a:moveTo>
                  <a:cubicBezTo>
                    <a:pt x="80" y="35"/>
                    <a:pt x="68" y="17"/>
                    <a:pt x="49" y="12"/>
                  </a:cubicBezTo>
                  <a:cubicBezTo>
                    <a:pt x="0" y="0"/>
                    <a:pt x="0" y="0"/>
                    <a:pt x="0" y="0"/>
                  </a:cubicBezTo>
                  <a:cubicBezTo>
                    <a:pt x="44" y="11"/>
                    <a:pt x="13" y="82"/>
                    <a:pt x="20" y="100"/>
                  </a:cubicBezTo>
                  <a:cubicBezTo>
                    <a:pt x="68" y="109"/>
                    <a:pt x="68" y="109"/>
                    <a:pt x="68" y="109"/>
                  </a:cubicBezTo>
                  <a:cubicBezTo>
                    <a:pt x="81" y="94"/>
                    <a:pt x="87" y="73"/>
                    <a:pt x="83" y="54"/>
                  </a:cubicBezTo>
                  <a:cubicBezTo>
                    <a:pt x="82" y="47"/>
                    <a:pt x="85" y="61"/>
                    <a:pt x="83" y="5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lIns="121920" tIns="60960" rIns="121920" bIns="6096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lumMod val="65000"/>
                  </a:srgbClr>
                </a:solidFill>
                <a:effectLst/>
                <a:uLnTx/>
                <a:uFillTx/>
                <a:latin typeface="Aa楷体" panose="02000500000000000000" pitchFamily="2" charset="-122"/>
                <a:ea typeface="+mn-ea"/>
                <a:cs typeface="+mn-cs"/>
                <a:sym typeface="YRDZST"/>
              </a:endParaRPr>
            </a:p>
          </p:txBody>
        </p:sp>
        <p:sp>
          <p:nvSpPr>
            <p:cNvPr id="33" name="Freeform 32">
              <a:extLst>
                <a:ext uri="{FF2B5EF4-FFF2-40B4-BE49-F238E27FC236}">
                  <a16:creationId xmlns:a16="http://schemas.microsoft.com/office/drawing/2014/main" id="{428CFF37-B3A5-4252-BA37-3CBF9AEE77E8}"/>
                </a:ext>
              </a:extLst>
            </p:cNvPr>
            <p:cNvSpPr>
              <a:spLocks/>
            </p:cNvSpPr>
            <p:nvPr/>
          </p:nvSpPr>
          <p:spPr bwMode="auto">
            <a:xfrm>
              <a:off x="5998281" y="247720"/>
              <a:ext cx="655441" cy="1024604"/>
            </a:xfrm>
            <a:custGeom>
              <a:avLst/>
              <a:gdLst>
                <a:gd name="T0" fmla="*/ 102 w 103"/>
                <a:gd name="T1" fmla="*/ 71 h 161"/>
                <a:gd name="T2" fmla="*/ 96 w 103"/>
                <a:gd name="T3" fmla="*/ 50 h 161"/>
                <a:gd name="T4" fmla="*/ 85 w 103"/>
                <a:gd name="T5" fmla="*/ 34 h 161"/>
                <a:gd name="T6" fmla="*/ 70 w 103"/>
                <a:gd name="T7" fmla="*/ 23 h 161"/>
                <a:gd name="T8" fmla="*/ 25 w 103"/>
                <a:gd name="T9" fmla="*/ 0 h 161"/>
                <a:gd name="T10" fmla="*/ 40 w 103"/>
                <a:gd name="T11" fmla="*/ 12 h 161"/>
                <a:gd name="T12" fmla="*/ 51 w 103"/>
                <a:gd name="T13" fmla="*/ 29 h 161"/>
                <a:gd name="T14" fmla="*/ 57 w 103"/>
                <a:gd name="T15" fmla="*/ 50 h 161"/>
                <a:gd name="T16" fmla="*/ 57 w 103"/>
                <a:gd name="T17" fmla="*/ 74 h 161"/>
                <a:gd name="T18" fmla="*/ 50 w 103"/>
                <a:gd name="T19" fmla="*/ 98 h 161"/>
                <a:gd name="T20" fmla="*/ 37 w 103"/>
                <a:gd name="T21" fmla="*/ 118 h 161"/>
                <a:gd name="T22" fmla="*/ 20 w 103"/>
                <a:gd name="T23" fmla="*/ 134 h 161"/>
                <a:gd name="T24" fmla="*/ 0 w 103"/>
                <a:gd name="T25" fmla="*/ 144 h 161"/>
                <a:gd name="T26" fmla="*/ 46 w 103"/>
                <a:gd name="T27" fmla="*/ 161 h 161"/>
                <a:gd name="T28" fmla="*/ 66 w 103"/>
                <a:gd name="T29" fmla="*/ 151 h 161"/>
                <a:gd name="T30" fmla="*/ 82 w 103"/>
                <a:gd name="T31" fmla="*/ 136 h 161"/>
                <a:gd name="T32" fmla="*/ 95 w 103"/>
                <a:gd name="T33" fmla="*/ 117 h 161"/>
                <a:gd name="T34" fmla="*/ 102 w 103"/>
                <a:gd name="T35" fmla="*/ 94 h 161"/>
                <a:gd name="T36" fmla="*/ 102 w 103"/>
                <a:gd name="T37"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3" h="161">
                  <a:moveTo>
                    <a:pt x="102" y="71"/>
                  </a:moveTo>
                  <a:cubicBezTo>
                    <a:pt x="101" y="63"/>
                    <a:pt x="99" y="56"/>
                    <a:pt x="96" y="50"/>
                  </a:cubicBezTo>
                  <a:cubicBezTo>
                    <a:pt x="93" y="44"/>
                    <a:pt x="90" y="39"/>
                    <a:pt x="85" y="34"/>
                  </a:cubicBezTo>
                  <a:cubicBezTo>
                    <a:pt x="81" y="29"/>
                    <a:pt x="76" y="25"/>
                    <a:pt x="70" y="23"/>
                  </a:cubicBezTo>
                  <a:cubicBezTo>
                    <a:pt x="55" y="15"/>
                    <a:pt x="40" y="8"/>
                    <a:pt x="25" y="0"/>
                  </a:cubicBezTo>
                  <a:cubicBezTo>
                    <a:pt x="30" y="3"/>
                    <a:pt x="36" y="7"/>
                    <a:pt x="40" y="12"/>
                  </a:cubicBezTo>
                  <a:cubicBezTo>
                    <a:pt x="45" y="17"/>
                    <a:pt x="49" y="22"/>
                    <a:pt x="51" y="29"/>
                  </a:cubicBezTo>
                  <a:cubicBezTo>
                    <a:pt x="54" y="35"/>
                    <a:pt x="56" y="42"/>
                    <a:pt x="57" y="50"/>
                  </a:cubicBezTo>
                  <a:cubicBezTo>
                    <a:pt x="58" y="57"/>
                    <a:pt x="58" y="65"/>
                    <a:pt x="57" y="74"/>
                  </a:cubicBezTo>
                  <a:cubicBezTo>
                    <a:pt x="55" y="82"/>
                    <a:pt x="53" y="90"/>
                    <a:pt x="50" y="98"/>
                  </a:cubicBezTo>
                  <a:cubicBezTo>
                    <a:pt x="46" y="105"/>
                    <a:pt x="42" y="112"/>
                    <a:pt x="37" y="118"/>
                  </a:cubicBezTo>
                  <a:cubicBezTo>
                    <a:pt x="32" y="124"/>
                    <a:pt x="26" y="129"/>
                    <a:pt x="20" y="134"/>
                  </a:cubicBezTo>
                  <a:cubicBezTo>
                    <a:pt x="14" y="138"/>
                    <a:pt x="7" y="141"/>
                    <a:pt x="0" y="144"/>
                  </a:cubicBezTo>
                  <a:cubicBezTo>
                    <a:pt x="46" y="161"/>
                    <a:pt x="46" y="161"/>
                    <a:pt x="46" y="161"/>
                  </a:cubicBezTo>
                  <a:cubicBezTo>
                    <a:pt x="53" y="159"/>
                    <a:pt x="60" y="156"/>
                    <a:pt x="66" y="151"/>
                  </a:cubicBezTo>
                  <a:cubicBezTo>
                    <a:pt x="72" y="147"/>
                    <a:pt x="77" y="142"/>
                    <a:pt x="82" y="136"/>
                  </a:cubicBezTo>
                  <a:cubicBezTo>
                    <a:pt x="87" y="130"/>
                    <a:pt x="91" y="124"/>
                    <a:pt x="95" y="117"/>
                  </a:cubicBezTo>
                  <a:cubicBezTo>
                    <a:pt x="98" y="109"/>
                    <a:pt x="100" y="102"/>
                    <a:pt x="102" y="94"/>
                  </a:cubicBezTo>
                  <a:cubicBezTo>
                    <a:pt x="103" y="86"/>
                    <a:pt x="103" y="78"/>
                    <a:pt x="102" y="7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lIns="121920" tIns="60960" rIns="121920" bIns="6096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lumMod val="65000"/>
                  </a:srgbClr>
                </a:solidFill>
                <a:effectLst/>
                <a:uLnTx/>
                <a:uFillTx/>
                <a:latin typeface="Aa楷体" panose="02000500000000000000" pitchFamily="2" charset="-122"/>
                <a:ea typeface="+mn-ea"/>
                <a:cs typeface="+mn-cs"/>
                <a:sym typeface="YRDZST"/>
              </a:endParaRPr>
            </a:p>
          </p:txBody>
        </p:sp>
        <p:sp>
          <p:nvSpPr>
            <p:cNvPr id="34" name="Freeform 33">
              <a:extLst>
                <a:ext uri="{FF2B5EF4-FFF2-40B4-BE49-F238E27FC236}">
                  <a16:creationId xmlns:a16="http://schemas.microsoft.com/office/drawing/2014/main" id="{82ED6ABE-D2CA-4C44-AE25-B9007B068EFC}"/>
                </a:ext>
              </a:extLst>
            </p:cNvPr>
            <p:cNvSpPr>
              <a:spLocks/>
            </p:cNvSpPr>
            <p:nvPr/>
          </p:nvSpPr>
          <p:spPr bwMode="auto">
            <a:xfrm>
              <a:off x="5998281" y="1164136"/>
              <a:ext cx="540898" cy="1474858"/>
            </a:xfrm>
            <a:custGeom>
              <a:avLst/>
              <a:gdLst>
                <a:gd name="T0" fmla="*/ 80 w 85"/>
                <a:gd name="T1" fmla="*/ 117 h 232"/>
                <a:gd name="T2" fmla="*/ 67 w 85"/>
                <a:gd name="T3" fmla="*/ 64 h 232"/>
                <a:gd name="T4" fmla="*/ 46 w 85"/>
                <a:gd name="T5" fmla="*/ 17 h 232"/>
                <a:gd name="T6" fmla="*/ 0 w 85"/>
                <a:gd name="T7" fmla="*/ 0 h 232"/>
                <a:gd name="T8" fmla="*/ 21 w 85"/>
                <a:gd name="T9" fmla="*/ 49 h 232"/>
                <a:gd name="T10" fmla="*/ 34 w 85"/>
                <a:gd name="T11" fmla="*/ 103 h 232"/>
                <a:gd name="T12" fmla="*/ 39 w 85"/>
                <a:gd name="T13" fmla="*/ 161 h 232"/>
                <a:gd name="T14" fmla="*/ 35 w 85"/>
                <a:gd name="T15" fmla="*/ 222 h 232"/>
                <a:gd name="T16" fmla="*/ 81 w 85"/>
                <a:gd name="T17" fmla="*/ 232 h 232"/>
                <a:gd name="T18" fmla="*/ 85 w 85"/>
                <a:gd name="T19" fmla="*/ 173 h 232"/>
                <a:gd name="T20" fmla="*/ 80 w 85"/>
                <a:gd name="T21" fmla="*/ 11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232">
                  <a:moveTo>
                    <a:pt x="80" y="117"/>
                  </a:moveTo>
                  <a:cubicBezTo>
                    <a:pt x="77" y="99"/>
                    <a:pt x="72" y="81"/>
                    <a:pt x="67" y="64"/>
                  </a:cubicBezTo>
                  <a:cubicBezTo>
                    <a:pt x="61" y="48"/>
                    <a:pt x="54" y="32"/>
                    <a:pt x="46" y="17"/>
                  </a:cubicBezTo>
                  <a:cubicBezTo>
                    <a:pt x="0" y="0"/>
                    <a:pt x="0" y="0"/>
                    <a:pt x="0" y="0"/>
                  </a:cubicBezTo>
                  <a:cubicBezTo>
                    <a:pt x="8" y="15"/>
                    <a:pt x="15" y="31"/>
                    <a:pt x="21" y="49"/>
                  </a:cubicBezTo>
                  <a:cubicBezTo>
                    <a:pt x="27" y="66"/>
                    <a:pt x="31" y="84"/>
                    <a:pt x="34" y="103"/>
                  </a:cubicBezTo>
                  <a:cubicBezTo>
                    <a:pt x="37" y="122"/>
                    <a:pt x="39" y="141"/>
                    <a:pt x="39" y="161"/>
                  </a:cubicBezTo>
                  <a:cubicBezTo>
                    <a:pt x="39" y="181"/>
                    <a:pt x="38" y="202"/>
                    <a:pt x="35" y="222"/>
                  </a:cubicBezTo>
                  <a:cubicBezTo>
                    <a:pt x="81" y="232"/>
                    <a:pt x="81" y="232"/>
                    <a:pt x="81" y="232"/>
                  </a:cubicBezTo>
                  <a:cubicBezTo>
                    <a:pt x="84" y="212"/>
                    <a:pt x="85" y="193"/>
                    <a:pt x="85" y="173"/>
                  </a:cubicBezTo>
                  <a:cubicBezTo>
                    <a:pt x="84" y="154"/>
                    <a:pt x="83" y="135"/>
                    <a:pt x="80" y="11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lIns="121920" tIns="60960" rIns="121920" bIns="6096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lumMod val="65000"/>
                  </a:srgbClr>
                </a:solidFill>
                <a:effectLst/>
                <a:uLnTx/>
                <a:uFillTx/>
                <a:latin typeface="Aa楷体" panose="02000500000000000000" pitchFamily="2" charset="-122"/>
                <a:ea typeface="+mn-ea"/>
                <a:cs typeface="+mn-cs"/>
                <a:sym typeface="YRDZST"/>
              </a:endParaRPr>
            </a:p>
          </p:txBody>
        </p:sp>
        <p:sp>
          <p:nvSpPr>
            <p:cNvPr id="35" name="Freeform 34">
              <a:extLst>
                <a:ext uri="{FF2B5EF4-FFF2-40B4-BE49-F238E27FC236}">
                  <a16:creationId xmlns:a16="http://schemas.microsoft.com/office/drawing/2014/main" id="{F39F999C-9517-4FD5-B594-508DB73C4388}"/>
                </a:ext>
              </a:extLst>
            </p:cNvPr>
            <p:cNvSpPr>
              <a:spLocks/>
            </p:cNvSpPr>
            <p:nvPr/>
          </p:nvSpPr>
          <p:spPr bwMode="auto">
            <a:xfrm>
              <a:off x="5719877" y="2503759"/>
              <a:ext cx="808165" cy="135236"/>
            </a:xfrm>
            <a:custGeom>
              <a:avLst/>
              <a:gdLst>
                <a:gd name="T0" fmla="*/ 0 w 509"/>
                <a:gd name="T1" fmla="*/ 0 h 85"/>
                <a:gd name="T2" fmla="*/ 192 w 509"/>
                <a:gd name="T3" fmla="*/ 41 h 85"/>
                <a:gd name="T4" fmla="*/ 509 w 509"/>
                <a:gd name="T5" fmla="*/ 85 h 85"/>
                <a:gd name="T6" fmla="*/ 325 w 509"/>
                <a:gd name="T7" fmla="*/ 45 h 85"/>
                <a:gd name="T8" fmla="*/ 0 w 509"/>
                <a:gd name="T9" fmla="*/ 0 h 85"/>
              </a:gdLst>
              <a:ahLst/>
              <a:cxnLst>
                <a:cxn ang="0">
                  <a:pos x="T0" y="T1"/>
                </a:cxn>
                <a:cxn ang="0">
                  <a:pos x="T2" y="T3"/>
                </a:cxn>
                <a:cxn ang="0">
                  <a:pos x="T4" y="T5"/>
                </a:cxn>
                <a:cxn ang="0">
                  <a:pos x="T6" y="T7"/>
                </a:cxn>
                <a:cxn ang="0">
                  <a:pos x="T8" y="T9"/>
                </a:cxn>
              </a:cxnLst>
              <a:rect l="0" t="0" r="r" b="b"/>
              <a:pathLst>
                <a:path w="509" h="85">
                  <a:moveTo>
                    <a:pt x="0" y="0"/>
                  </a:moveTo>
                  <a:lnTo>
                    <a:pt x="192" y="41"/>
                  </a:lnTo>
                  <a:lnTo>
                    <a:pt x="509" y="85"/>
                  </a:lnTo>
                  <a:lnTo>
                    <a:pt x="325" y="45"/>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lIns="121920" tIns="60960" rIns="121920" bIns="6096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lumMod val="65000"/>
                  </a:srgbClr>
                </a:solidFill>
                <a:effectLst/>
                <a:uLnTx/>
                <a:uFillTx/>
                <a:latin typeface="Aa楷体" panose="02000500000000000000" pitchFamily="2" charset="-122"/>
                <a:ea typeface="+mn-ea"/>
                <a:cs typeface="+mn-cs"/>
                <a:sym typeface="YRDZST"/>
              </a:endParaRPr>
            </a:p>
          </p:txBody>
        </p:sp>
        <p:sp>
          <p:nvSpPr>
            <p:cNvPr id="36" name="Freeform 35">
              <a:extLst>
                <a:ext uri="{FF2B5EF4-FFF2-40B4-BE49-F238E27FC236}">
                  <a16:creationId xmlns:a16="http://schemas.microsoft.com/office/drawing/2014/main" id="{A37CB16B-2613-4B3A-A924-93B416518787}"/>
                </a:ext>
              </a:extLst>
            </p:cNvPr>
            <p:cNvSpPr>
              <a:spLocks/>
            </p:cNvSpPr>
            <p:nvPr/>
          </p:nvSpPr>
          <p:spPr bwMode="auto">
            <a:xfrm>
              <a:off x="5705560" y="2677178"/>
              <a:ext cx="795438" cy="1148702"/>
            </a:xfrm>
            <a:custGeom>
              <a:avLst/>
              <a:gdLst>
                <a:gd name="T0" fmla="*/ 79 w 125"/>
                <a:gd name="T1" fmla="*/ 0 h 181"/>
                <a:gd name="T2" fmla="*/ 66 w 125"/>
                <a:gd name="T3" fmla="*/ 50 h 181"/>
                <a:gd name="T4" fmla="*/ 49 w 125"/>
                <a:gd name="T5" fmla="*/ 97 h 181"/>
                <a:gd name="T6" fmla="*/ 26 w 125"/>
                <a:gd name="T7" fmla="*/ 140 h 181"/>
                <a:gd name="T8" fmla="*/ 0 w 125"/>
                <a:gd name="T9" fmla="*/ 178 h 181"/>
                <a:gd name="T10" fmla="*/ 48 w 125"/>
                <a:gd name="T11" fmla="*/ 181 h 181"/>
                <a:gd name="T12" fmla="*/ 74 w 125"/>
                <a:gd name="T13" fmla="*/ 144 h 181"/>
                <a:gd name="T14" fmla="*/ 96 w 125"/>
                <a:gd name="T15" fmla="*/ 103 h 181"/>
                <a:gd name="T16" fmla="*/ 113 w 125"/>
                <a:gd name="T17" fmla="*/ 58 h 181"/>
                <a:gd name="T18" fmla="*/ 125 w 125"/>
                <a:gd name="T19" fmla="*/ 10 h 181"/>
                <a:gd name="T20" fmla="*/ 79 w 125"/>
                <a:gd name="T21"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181">
                  <a:moveTo>
                    <a:pt x="79" y="0"/>
                  </a:moveTo>
                  <a:cubicBezTo>
                    <a:pt x="76" y="18"/>
                    <a:pt x="71" y="34"/>
                    <a:pt x="66" y="50"/>
                  </a:cubicBezTo>
                  <a:cubicBezTo>
                    <a:pt x="61" y="67"/>
                    <a:pt x="56" y="82"/>
                    <a:pt x="49" y="97"/>
                  </a:cubicBezTo>
                  <a:cubicBezTo>
                    <a:pt x="42" y="112"/>
                    <a:pt x="35" y="126"/>
                    <a:pt x="26" y="140"/>
                  </a:cubicBezTo>
                  <a:cubicBezTo>
                    <a:pt x="18" y="153"/>
                    <a:pt x="9" y="166"/>
                    <a:pt x="0" y="178"/>
                  </a:cubicBezTo>
                  <a:cubicBezTo>
                    <a:pt x="48" y="181"/>
                    <a:pt x="48" y="181"/>
                    <a:pt x="48" y="181"/>
                  </a:cubicBezTo>
                  <a:cubicBezTo>
                    <a:pt x="57" y="169"/>
                    <a:pt x="66" y="157"/>
                    <a:pt x="74" y="144"/>
                  </a:cubicBezTo>
                  <a:cubicBezTo>
                    <a:pt x="82" y="131"/>
                    <a:pt x="89" y="117"/>
                    <a:pt x="96" y="103"/>
                  </a:cubicBezTo>
                  <a:cubicBezTo>
                    <a:pt x="102" y="89"/>
                    <a:pt x="108" y="74"/>
                    <a:pt x="113" y="58"/>
                  </a:cubicBezTo>
                  <a:cubicBezTo>
                    <a:pt x="118" y="42"/>
                    <a:pt x="122" y="26"/>
                    <a:pt x="125" y="10"/>
                  </a:cubicBezTo>
                  <a:lnTo>
                    <a:pt x="79" y="0"/>
                  </a:lnTo>
                  <a:close/>
                </a:path>
              </a:pathLst>
            </a:custGeom>
            <a:solidFill>
              <a:schemeClr val="bg2">
                <a:lumMod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121920" tIns="60960" rIns="121920" bIns="6096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lumMod val="65000"/>
                  </a:srgbClr>
                </a:solidFill>
                <a:effectLst/>
                <a:uLnTx/>
                <a:uFillTx/>
                <a:latin typeface="Aa楷体" panose="02000500000000000000" pitchFamily="2" charset="-122"/>
                <a:ea typeface="+mn-ea"/>
                <a:cs typeface="+mn-cs"/>
                <a:sym typeface="YRDZST"/>
              </a:endParaRPr>
            </a:p>
          </p:txBody>
        </p:sp>
        <p:sp>
          <p:nvSpPr>
            <p:cNvPr id="37" name="Freeform 36">
              <a:extLst>
                <a:ext uri="{FF2B5EF4-FFF2-40B4-BE49-F238E27FC236}">
                  <a16:creationId xmlns:a16="http://schemas.microsoft.com/office/drawing/2014/main" id="{104E2A73-EEFC-4001-A654-98C60241B7E8}"/>
                </a:ext>
              </a:extLst>
            </p:cNvPr>
            <p:cNvSpPr>
              <a:spLocks/>
            </p:cNvSpPr>
            <p:nvPr/>
          </p:nvSpPr>
          <p:spPr bwMode="auto">
            <a:xfrm>
              <a:off x="2902436" y="298632"/>
              <a:ext cx="1799280" cy="2459687"/>
            </a:xfrm>
            <a:custGeom>
              <a:avLst/>
              <a:gdLst>
                <a:gd name="T0" fmla="*/ 243 w 283"/>
                <a:gd name="T1" fmla="*/ 4 h 387"/>
                <a:gd name="T2" fmla="*/ 168 w 283"/>
                <a:gd name="T3" fmla="*/ 31 h 387"/>
                <a:gd name="T4" fmla="*/ 146 w 283"/>
                <a:gd name="T5" fmla="*/ 64 h 387"/>
                <a:gd name="T6" fmla="*/ 158 w 283"/>
                <a:gd name="T7" fmla="*/ 98 h 387"/>
                <a:gd name="T8" fmla="*/ 149 w 283"/>
                <a:gd name="T9" fmla="*/ 144 h 387"/>
                <a:gd name="T10" fmla="*/ 115 w 283"/>
                <a:gd name="T11" fmla="*/ 178 h 387"/>
                <a:gd name="T12" fmla="*/ 80 w 283"/>
                <a:gd name="T13" fmla="*/ 178 h 387"/>
                <a:gd name="T14" fmla="*/ 61 w 283"/>
                <a:gd name="T15" fmla="*/ 156 h 387"/>
                <a:gd name="T16" fmla="*/ 37 w 283"/>
                <a:gd name="T17" fmla="*/ 174 h 387"/>
                <a:gd name="T18" fmla="*/ 9 w 283"/>
                <a:gd name="T19" fmla="*/ 246 h 387"/>
                <a:gd name="T20" fmla="*/ 69 w 283"/>
                <a:gd name="T21" fmla="*/ 295 h 387"/>
                <a:gd name="T22" fmla="*/ 79 w 283"/>
                <a:gd name="T23" fmla="*/ 300 h 387"/>
                <a:gd name="T24" fmla="*/ 75 w 283"/>
                <a:gd name="T25" fmla="*/ 306 h 387"/>
                <a:gd name="T26" fmla="*/ 72 w 283"/>
                <a:gd name="T27" fmla="*/ 313 h 387"/>
                <a:gd name="T28" fmla="*/ 70 w 283"/>
                <a:gd name="T29" fmla="*/ 321 h 387"/>
                <a:gd name="T30" fmla="*/ 69 w 283"/>
                <a:gd name="T31" fmla="*/ 347 h 387"/>
                <a:gd name="T32" fmla="*/ 86 w 283"/>
                <a:gd name="T33" fmla="*/ 379 h 387"/>
                <a:gd name="T34" fmla="*/ 118 w 283"/>
                <a:gd name="T35" fmla="*/ 384 h 387"/>
                <a:gd name="T36" fmla="*/ 145 w 283"/>
                <a:gd name="T37" fmla="*/ 359 h 387"/>
                <a:gd name="T38" fmla="*/ 153 w 283"/>
                <a:gd name="T39" fmla="*/ 333 h 387"/>
                <a:gd name="T40" fmla="*/ 153 w 283"/>
                <a:gd name="T41" fmla="*/ 325 h 387"/>
                <a:gd name="T42" fmla="*/ 153 w 283"/>
                <a:gd name="T43" fmla="*/ 317 h 387"/>
                <a:gd name="T44" fmla="*/ 151 w 283"/>
                <a:gd name="T45" fmla="*/ 310 h 387"/>
                <a:gd name="T46" fmla="*/ 163 w 283"/>
                <a:gd name="T47" fmla="*/ 308 h 387"/>
                <a:gd name="T48" fmla="*/ 245 w 283"/>
                <a:gd name="T49" fmla="*/ 237 h 387"/>
                <a:gd name="T50" fmla="*/ 237 w 283"/>
                <a:gd name="T51" fmla="*/ 238 h 387"/>
                <a:gd name="T52" fmla="*/ 230 w 283"/>
                <a:gd name="T53" fmla="*/ 238 h 387"/>
                <a:gd name="T54" fmla="*/ 194 w 283"/>
                <a:gd name="T55" fmla="*/ 213 h 387"/>
                <a:gd name="T56" fmla="*/ 186 w 283"/>
                <a:gd name="T57" fmla="*/ 163 h 387"/>
                <a:gd name="T58" fmla="*/ 210 w 283"/>
                <a:gd name="T59" fmla="*/ 115 h 387"/>
                <a:gd name="T60" fmla="*/ 253 w 283"/>
                <a:gd name="T61" fmla="*/ 97 h 387"/>
                <a:gd name="T62" fmla="*/ 260 w 283"/>
                <a:gd name="T63" fmla="*/ 98 h 387"/>
                <a:gd name="T64" fmla="*/ 267 w 283"/>
                <a:gd name="T65" fmla="*/ 10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3" h="387">
                  <a:moveTo>
                    <a:pt x="283" y="0"/>
                  </a:moveTo>
                  <a:cubicBezTo>
                    <a:pt x="270" y="0"/>
                    <a:pt x="256" y="1"/>
                    <a:pt x="243" y="4"/>
                  </a:cubicBezTo>
                  <a:cubicBezTo>
                    <a:pt x="230" y="6"/>
                    <a:pt x="217" y="10"/>
                    <a:pt x="205" y="15"/>
                  </a:cubicBezTo>
                  <a:cubicBezTo>
                    <a:pt x="192" y="19"/>
                    <a:pt x="180" y="25"/>
                    <a:pt x="168" y="31"/>
                  </a:cubicBezTo>
                  <a:cubicBezTo>
                    <a:pt x="157" y="38"/>
                    <a:pt x="146" y="45"/>
                    <a:pt x="135" y="54"/>
                  </a:cubicBezTo>
                  <a:cubicBezTo>
                    <a:pt x="139" y="56"/>
                    <a:pt x="143" y="60"/>
                    <a:pt x="146" y="64"/>
                  </a:cubicBezTo>
                  <a:cubicBezTo>
                    <a:pt x="149" y="69"/>
                    <a:pt x="152" y="74"/>
                    <a:pt x="154" y="79"/>
                  </a:cubicBezTo>
                  <a:cubicBezTo>
                    <a:pt x="156" y="85"/>
                    <a:pt x="157" y="91"/>
                    <a:pt x="158" y="98"/>
                  </a:cubicBezTo>
                  <a:cubicBezTo>
                    <a:pt x="159" y="104"/>
                    <a:pt x="158" y="111"/>
                    <a:pt x="157" y="118"/>
                  </a:cubicBezTo>
                  <a:cubicBezTo>
                    <a:pt x="156" y="128"/>
                    <a:pt x="153" y="136"/>
                    <a:pt x="149" y="144"/>
                  </a:cubicBezTo>
                  <a:cubicBezTo>
                    <a:pt x="145" y="152"/>
                    <a:pt x="140" y="159"/>
                    <a:pt x="134" y="165"/>
                  </a:cubicBezTo>
                  <a:cubicBezTo>
                    <a:pt x="128" y="171"/>
                    <a:pt x="122" y="175"/>
                    <a:pt x="115" y="178"/>
                  </a:cubicBezTo>
                  <a:cubicBezTo>
                    <a:pt x="108" y="181"/>
                    <a:pt x="101" y="182"/>
                    <a:pt x="94" y="182"/>
                  </a:cubicBezTo>
                  <a:cubicBezTo>
                    <a:pt x="89" y="181"/>
                    <a:pt x="85" y="180"/>
                    <a:pt x="80" y="178"/>
                  </a:cubicBezTo>
                  <a:cubicBezTo>
                    <a:pt x="76" y="175"/>
                    <a:pt x="72" y="172"/>
                    <a:pt x="69" y="169"/>
                  </a:cubicBezTo>
                  <a:cubicBezTo>
                    <a:pt x="66" y="165"/>
                    <a:pt x="63" y="161"/>
                    <a:pt x="61" y="156"/>
                  </a:cubicBezTo>
                  <a:cubicBezTo>
                    <a:pt x="59" y="152"/>
                    <a:pt x="57" y="146"/>
                    <a:pt x="56" y="141"/>
                  </a:cubicBezTo>
                  <a:cubicBezTo>
                    <a:pt x="49" y="151"/>
                    <a:pt x="43" y="162"/>
                    <a:pt x="37" y="174"/>
                  </a:cubicBezTo>
                  <a:cubicBezTo>
                    <a:pt x="31" y="185"/>
                    <a:pt x="26" y="197"/>
                    <a:pt x="21" y="209"/>
                  </a:cubicBezTo>
                  <a:cubicBezTo>
                    <a:pt x="17" y="221"/>
                    <a:pt x="12" y="233"/>
                    <a:pt x="9" y="246"/>
                  </a:cubicBezTo>
                  <a:cubicBezTo>
                    <a:pt x="5" y="259"/>
                    <a:pt x="2" y="272"/>
                    <a:pt x="0" y="285"/>
                  </a:cubicBezTo>
                  <a:cubicBezTo>
                    <a:pt x="69" y="295"/>
                    <a:pt x="69" y="295"/>
                    <a:pt x="69" y="295"/>
                  </a:cubicBezTo>
                  <a:cubicBezTo>
                    <a:pt x="81" y="297"/>
                    <a:pt x="81" y="297"/>
                    <a:pt x="81" y="297"/>
                  </a:cubicBezTo>
                  <a:cubicBezTo>
                    <a:pt x="80" y="298"/>
                    <a:pt x="80" y="299"/>
                    <a:pt x="79" y="300"/>
                  </a:cubicBezTo>
                  <a:cubicBezTo>
                    <a:pt x="78" y="301"/>
                    <a:pt x="78" y="302"/>
                    <a:pt x="77" y="303"/>
                  </a:cubicBezTo>
                  <a:cubicBezTo>
                    <a:pt x="77" y="304"/>
                    <a:pt x="76" y="305"/>
                    <a:pt x="75" y="306"/>
                  </a:cubicBezTo>
                  <a:cubicBezTo>
                    <a:pt x="75" y="307"/>
                    <a:pt x="74" y="308"/>
                    <a:pt x="74" y="310"/>
                  </a:cubicBezTo>
                  <a:cubicBezTo>
                    <a:pt x="73" y="311"/>
                    <a:pt x="73" y="312"/>
                    <a:pt x="72" y="313"/>
                  </a:cubicBezTo>
                  <a:cubicBezTo>
                    <a:pt x="72" y="315"/>
                    <a:pt x="72" y="316"/>
                    <a:pt x="71" y="317"/>
                  </a:cubicBezTo>
                  <a:cubicBezTo>
                    <a:pt x="71" y="318"/>
                    <a:pt x="71" y="320"/>
                    <a:pt x="70" y="321"/>
                  </a:cubicBezTo>
                  <a:cubicBezTo>
                    <a:pt x="70" y="322"/>
                    <a:pt x="70" y="324"/>
                    <a:pt x="69" y="325"/>
                  </a:cubicBezTo>
                  <a:cubicBezTo>
                    <a:pt x="68" y="333"/>
                    <a:pt x="68" y="340"/>
                    <a:pt x="69" y="347"/>
                  </a:cubicBezTo>
                  <a:cubicBezTo>
                    <a:pt x="70" y="353"/>
                    <a:pt x="72" y="360"/>
                    <a:pt x="75" y="365"/>
                  </a:cubicBezTo>
                  <a:cubicBezTo>
                    <a:pt x="78" y="371"/>
                    <a:pt x="82" y="375"/>
                    <a:pt x="86" y="379"/>
                  </a:cubicBezTo>
                  <a:cubicBezTo>
                    <a:pt x="90" y="383"/>
                    <a:pt x="96" y="385"/>
                    <a:pt x="101" y="386"/>
                  </a:cubicBezTo>
                  <a:cubicBezTo>
                    <a:pt x="107" y="387"/>
                    <a:pt x="113" y="386"/>
                    <a:pt x="118" y="384"/>
                  </a:cubicBezTo>
                  <a:cubicBezTo>
                    <a:pt x="124" y="382"/>
                    <a:pt x="129" y="379"/>
                    <a:pt x="133" y="375"/>
                  </a:cubicBezTo>
                  <a:cubicBezTo>
                    <a:pt x="138" y="370"/>
                    <a:pt x="142" y="365"/>
                    <a:pt x="145" y="359"/>
                  </a:cubicBezTo>
                  <a:cubicBezTo>
                    <a:pt x="149" y="352"/>
                    <a:pt x="151" y="345"/>
                    <a:pt x="152" y="338"/>
                  </a:cubicBezTo>
                  <a:cubicBezTo>
                    <a:pt x="152" y="336"/>
                    <a:pt x="153" y="335"/>
                    <a:pt x="153" y="333"/>
                  </a:cubicBezTo>
                  <a:cubicBezTo>
                    <a:pt x="153" y="332"/>
                    <a:pt x="153" y="331"/>
                    <a:pt x="153" y="329"/>
                  </a:cubicBezTo>
                  <a:cubicBezTo>
                    <a:pt x="153" y="328"/>
                    <a:pt x="153" y="326"/>
                    <a:pt x="153" y="325"/>
                  </a:cubicBezTo>
                  <a:cubicBezTo>
                    <a:pt x="153" y="324"/>
                    <a:pt x="153" y="322"/>
                    <a:pt x="153" y="321"/>
                  </a:cubicBezTo>
                  <a:cubicBezTo>
                    <a:pt x="153" y="320"/>
                    <a:pt x="153" y="318"/>
                    <a:pt x="153" y="317"/>
                  </a:cubicBezTo>
                  <a:cubicBezTo>
                    <a:pt x="152" y="316"/>
                    <a:pt x="152" y="315"/>
                    <a:pt x="152" y="313"/>
                  </a:cubicBezTo>
                  <a:cubicBezTo>
                    <a:pt x="152" y="312"/>
                    <a:pt x="151" y="311"/>
                    <a:pt x="151" y="310"/>
                  </a:cubicBezTo>
                  <a:cubicBezTo>
                    <a:pt x="151" y="309"/>
                    <a:pt x="151" y="307"/>
                    <a:pt x="150" y="306"/>
                  </a:cubicBezTo>
                  <a:cubicBezTo>
                    <a:pt x="163" y="308"/>
                    <a:pt x="163" y="308"/>
                    <a:pt x="163" y="308"/>
                  </a:cubicBezTo>
                  <a:cubicBezTo>
                    <a:pt x="232" y="318"/>
                    <a:pt x="232" y="318"/>
                    <a:pt x="232" y="318"/>
                  </a:cubicBezTo>
                  <a:cubicBezTo>
                    <a:pt x="245" y="237"/>
                    <a:pt x="245" y="237"/>
                    <a:pt x="245" y="237"/>
                  </a:cubicBezTo>
                  <a:cubicBezTo>
                    <a:pt x="243" y="238"/>
                    <a:pt x="242" y="238"/>
                    <a:pt x="241" y="238"/>
                  </a:cubicBezTo>
                  <a:cubicBezTo>
                    <a:pt x="240" y="238"/>
                    <a:pt x="238" y="238"/>
                    <a:pt x="237" y="238"/>
                  </a:cubicBezTo>
                  <a:cubicBezTo>
                    <a:pt x="236" y="238"/>
                    <a:pt x="235" y="238"/>
                    <a:pt x="233" y="238"/>
                  </a:cubicBezTo>
                  <a:cubicBezTo>
                    <a:pt x="232" y="238"/>
                    <a:pt x="231" y="238"/>
                    <a:pt x="230" y="238"/>
                  </a:cubicBezTo>
                  <a:cubicBezTo>
                    <a:pt x="222" y="237"/>
                    <a:pt x="215" y="234"/>
                    <a:pt x="209" y="230"/>
                  </a:cubicBezTo>
                  <a:cubicBezTo>
                    <a:pt x="203" y="226"/>
                    <a:pt x="198" y="220"/>
                    <a:pt x="194" y="213"/>
                  </a:cubicBezTo>
                  <a:cubicBezTo>
                    <a:pt x="190" y="207"/>
                    <a:pt x="187" y="199"/>
                    <a:pt x="186" y="190"/>
                  </a:cubicBezTo>
                  <a:cubicBezTo>
                    <a:pt x="184" y="182"/>
                    <a:pt x="184" y="172"/>
                    <a:pt x="186" y="163"/>
                  </a:cubicBezTo>
                  <a:cubicBezTo>
                    <a:pt x="187" y="153"/>
                    <a:pt x="191" y="144"/>
                    <a:pt x="195" y="136"/>
                  </a:cubicBezTo>
                  <a:cubicBezTo>
                    <a:pt x="199" y="128"/>
                    <a:pt x="204" y="121"/>
                    <a:pt x="210" y="115"/>
                  </a:cubicBezTo>
                  <a:cubicBezTo>
                    <a:pt x="216" y="109"/>
                    <a:pt x="223" y="104"/>
                    <a:pt x="230" y="101"/>
                  </a:cubicBezTo>
                  <a:cubicBezTo>
                    <a:pt x="237" y="98"/>
                    <a:pt x="245" y="96"/>
                    <a:pt x="253" y="97"/>
                  </a:cubicBezTo>
                  <a:cubicBezTo>
                    <a:pt x="254" y="97"/>
                    <a:pt x="255" y="97"/>
                    <a:pt x="256" y="97"/>
                  </a:cubicBezTo>
                  <a:cubicBezTo>
                    <a:pt x="258" y="97"/>
                    <a:pt x="259" y="98"/>
                    <a:pt x="260" y="98"/>
                  </a:cubicBezTo>
                  <a:cubicBezTo>
                    <a:pt x="261" y="98"/>
                    <a:pt x="262" y="99"/>
                    <a:pt x="264" y="99"/>
                  </a:cubicBezTo>
                  <a:cubicBezTo>
                    <a:pt x="265" y="99"/>
                    <a:pt x="266" y="100"/>
                    <a:pt x="267" y="100"/>
                  </a:cubicBezTo>
                  <a:lnTo>
                    <a:pt x="283"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121920" tIns="60960" rIns="121920" bIns="6096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lumMod val="65000"/>
                  </a:srgbClr>
                </a:solidFill>
                <a:effectLst/>
                <a:uLnTx/>
                <a:uFillTx/>
                <a:latin typeface="Aa楷体" panose="02000500000000000000" pitchFamily="2" charset="-122"/>
                <a:ea typeface="+mn-ea"/>
                <a:cs typeface="+mn-cs"/>
                <a:sym typeface="YRDZST"/>
              </a:endParaRPr>
            </a:p>
          </p:txBody>
        </p:sp>
        <p:sp>
          <p:nvSpPr>
            <p:cNvPr id="38" name="Freeform 35">
              <a:extLst>
                <a:ext uri="{FF2B5EF4-FFF2-40B4-BE49-F238E27FC236}">
                  <a16:creationId xmlns:a16="http://schemas.microsoft.com/office/drawing/2014/main" id="{C2A8D21E-5CAB-4DA4-84DD-B47F833F9881}"/>
                </a:ext>
              </a:extLst>
            </p:cNvPr>
            <p:cNvSpPr>
              <a:spLocks/>
            </p:cNvSpPr>
            <p:nvPr/>
          </p:nvSpPr>
          <p:spPr bwMode="auto">
            <a:xfrm>
              <a:off x="2673350" y="2191923"/>
              <a:ext cx="2009276" cy="2251266"/>
            </a:xfrm>
            <a:custGeom>
              <a:avLst/>
              <a:gdLst>
                <a:gd name="T0" fmla="*/ 29 w 316"/>
                <a:gd name="T1" fmla="*/ 42 h 354"/>
                <a:gd name="T2" fmla="*/ 33 w 316"/>
                <a:gd name="T3" fmla="*/ 121 h 354"/>
                <a:gd name="T4" fmla="*/ 28 w 316"/>
                <a:gd name="T5" fmla="*/ 166 h 354"/>
                <a:gd name="T6" fmla="*/ 7 w 316"/>
                <a:gd name="T7" fmla="*/ 195 h 354"/>
                <a:gd name="T8" fmla="*/ 1 w 316"/>
                <a:gd name="T9" fmla="*/ 240 h 354"/>
                <a:gd name="T10" fmla="*/ 21 w 316"/>
                <a:gd name="T11" fmla="*/ 282 h 354"/>
                <a:gd name="T12" fmla="*/ 53 w 316"/>
                <a:gd name="T13" fmla="*/ 293 h 354"/>
                <a:gd name="T14" fmla="*/ 80 w 316"/>
                <a:gd name="T15" fmla="*/ 278 h 354"/>
                <a:gd name="T16" fmla="*/ 115 w 316"/>
                <a:gd name="T17" fmla="*/ 294 h 354"/>
                <a:gd name="T18" fmla="*/ 177 w 316"/>
                <a:gd name="T19" fmla="*/ 340 h 354"/>
                <a:gd name="T20" fmla="*/ 229 w 316"/>
                <a:gd name="T21" fmla="*/ 257 h 354"/>
                <a:gd name="T22" fmla="*/ 234 w 316"/>
                <a:gd name="T23" fmla="*/ 242 h 354"/>
                <a:gd name="T24" fmla="*/ 239 w 316"/>
                <a:gd name="T25" fmla="*/ 248 h 354"/>
                <a:gd name="T26" fmla="*/ 246 w 316"/>
                <a:gd name="T27" fmla="*/ 254 h 354"/>
                <a:gd name="T28" fmla="*/ 254 w 316"/>
                <a:gd name="T29" fmla="*/ 258 h 354"/>
                <a:gd name="T30" fmla="*/ 278 w 316"/>
                <a:gd name="T31" fmla="*/ 259 h 354"/>
                <a:gd name="T32" fmla="*/ 308 w 316"/>
                <a:gd name="T33" fmla="*/ 233 h 354"/>
                <a:gd name="T34" fmla="*/ 315 w 316"/>
                <a:gd name="T35" fmla="*/ 188 h 354"/>
                <a:gd name="T36" fmla="*/ 295 w 316"/>
                <a:gd name="T37" fmla="*/ 152 h 354"/>
                <a:gd name="T38" fmla="*/ 273 w 316"/>
                <a:gd name="T39" fmla="*/ 144 h 354"/>
                <a:gd name="T40" fmla="*/ 264 w 316"/>
                <a:gd name="T41" fmla="*/ 144 h 354"/>
                <a:gd name="T42" fmla="*/ 256 w 316"/>
                <a:gd name="T43" fmla="*/ 147 h 354"/>
                <a:gd name="T44" fmla="*/ 249 w 316"/>
                <a:gd name="T45" fmla="*/ 150 h 354"/>
                <a:gd name="T46" fmla="*/ 249 w 316"/>
                <a:gd name="T47" fmla="*/ 135 h 354"/>
                <a:gd name="T48" fmla="*/ 200 w 316"/>
                <a:gd name="T49" fmla="*/ 25 h 354"/>
                <a:gd name="T50" fmla="*/ 200 w 316"/>
                <a:gd name="T51" fmla="*/ 33 h 354"/>
                <a:gd name="T52" fmla="*/ 199 w 316"/>
                <a:gd name="T53" fmla="*/ 41 h 354"/>
                <a:gd name="T54" fmla="*/ 175 w 316"/>
                <a:gd name="T55" fmla="*/ 88 h 354"/>
                <a:gd name="T56" fmla="*/ 135 w 316"/>
                <a:gd name="T57" fmla="*/ 102 h 354"/>
                <a:gd name="T58" fmla="*/ 102 w 316"/>
                <a:gd name="T59" fmla="*/ 76 h 354"/>
                <a:gd name="T60" fmla="*/ 95 w 316"/>
                <a:gd name="T61" fmla="*/ 26 h 354"/>
                <a:gd name="T62" fmla="*/ 97 w 316"/>
                <a:gd name="T63" fmla="*/ 18 h 354"/>
                <a:gd name="T64" fmla="*/ 99 w 316"/>
                <a:gd name="T65" fmla="*/ 1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6" h="354">
                  <a:moveTo>
                    <a:pt x="33" y="0"/>
                  </a:moveTo>
                  <a:cubicBezTo>
                    <a:pt x="31" y="14"/>
                    <a:pt x="30" y="28"/>
                    <a:pt x="29" y="42"/>
                  </a:cubicBezTo>
                  <a:cubicBezTo>
                    <a:pt x="29" y="55"/>
                    <a:pt x="29" y="69"/>
                    <a:pt x="29" y="82"/>
                  </a:cubicBezTo>
                  <a:cubicBezTo>
                    <a:pt x="30" y="95"/>
                    <a:pt x="31" y="109"/>
                    <a:pt x="33" y="121"/>
                  </a:cubicBezTo>
                  <a:cubicBezTo>
                    <a:pt x="35" y="134"/>
                    <a:pt x="38" y="147"/>
                    <a:pt x="41" y="159"/>
                  </a:cubicBezTo>
                  <a:cubicBezTo>
                    <a:pt x="36" y="161"/>
                    <a:pt x="32" y="163"/>
                    <a:pt x="28" y="166"/>
                  </a:cubicBezTo>
                  <a:cubicBezTo>
                    <a:pt x="23" y="170"/>
                    <a:pt x="19" y="174"/>
                    <a:pt x="16" y="179"/>
                  </a:cubicBezTo>
                  <a:cubicBezTo>
                    <a:pt x="13" y="183"/>
                    <a:pt x="10" y="189"/>
                    <a:pt x="7" y="195"/>
                  </a:cubicBezTo>
                  <a:cubicBezTo>
                    <a:pt x="5" y="200"/>
                    <a:pt x="3" y="207"/>
                    <a:pt x="2" y="214"/>
                  </a:cubicBezTo>
                  <a:cubicBezTo>
                    <a:pt x="0" y="223"/>
                    <a:pt x="0" y="232"/>
                    <a:pt x="1" y="240"/>
                  </a:cubicBezTo>
                  <a:cubicBezTo>
                    <a:pt x="2" y="249"/>
                    <a:pt x="5" y="257"/>
                    <a:pt x="8" y="264"/>
                  </a:cubicBezTo>
                  <a:cubicBezTo>
                    <a:pt x="11" y="271"/>
                    <a:pt x="16" y="277"/>
                    <a:pt x="21" y="282"/>
                  </a:cubicBezTo>
                  <a:cubicBezTo>
                    <a:pt x="26" y="287"/>
                    <a:pt x="32" y="290"/>
                    <a:pt x="39" y="292"/>
                  </a:cubicBezTo>
                  <a:cubicBezTo>
                    <a:pt x="44" y="293"/>
                    <a:pt x="48" y="293"/>
                    <a:pt x="53" y="293"/>
                  </a:cubicBezTo>
                  <a:cubicBezTo>
                    <a:pt x="58" y="292"/>
                    <a:pt x="63" y="290"/>
                    <a:pt x="67" y="288"/>
                  </a:cubicBezTo>
                  <a:cubicBezTo>
                    <a:pt x="72" y="286"/>
                    <a:pt x="76" y="282"/>
                    <a:pt x="80" y="278"/>
                  </a:cubicBezTo>
                  <a:cubicBezTo>
                    <a:pt x="84" y="274"/>
                    <a:pt x="87" y="270"/>
                    <a:pt x="90" y="264"/>
                  </a:cubicBezTo>
                  <a:cubicBezTo>
                    <a:pt x="98" y="275"/>
                    <a:pt x="106" y="285"/>
                    <a:pt x="115" y="294"/>
                  </a:cubicBezTo>
                  <a:cubicBezTo>
                    <a:pt x="124" y="303"/>
                    <a:pt x="134" y="312"/>
                    <a:pt x="144" y="319"/>
                  </a:cubicBezTo>
                  <a:cubicBezTo>
                    <a:pt x="154" y="327"/>
                    <a:pt x="165" y="334"/>
                    <a:pt x="177" y="340"/>
                  </a:cubicBezTo>
                  <a:cubicBezTo>
                    <a:pt x="188" y="346"/>
                    <a:pt x="200" y="351"/>
                    <a:pt x="213" y="354"/>
                  </a:cubicBezTo>
                  <a:cubicBezTo>
                    <a:pt x="229" y="257"/>
                    <a:pt x="229" y="257"/>
                    <a:pt x="229" y="257"/>
                  </a:cubicBezTo>
                  <a:cubicBezTo>
                    <a:pt x="232" y="239"/>
                    <a:pt x="232" y="239"/>
                    <a:pt x="232" y="239"/>
                  </a:cubicBezTo>
                  <a:cubicBezTo>
                    <a:pt x="233" y="240"/>
                    <a:pt x="233" y="241"/>
                    <a:pt x="234" y="242"/>
                  </a:cubicBezTo>
                  <a:cubicBezTo>
                    <a:pt x="235" y="243"/>
                    <a:pt x="236" y="245"/>
                    <a:pt x="237" y="245"/>
                  </a:cubicBezTo>
                  <a:cubicBezTo>
                    <a:pt x="237" y="246"/>
                    <a:pt x="238" y="247"/>
                    <a:pt x="239" y="248"/>
                  </a:cubicBezTo>
                  <a:cubicBezTo>
                    <a:pt x="240" y="249"/>
                    <a:pt x="241" y="250"/>
                    <a:pt x="242" y="251"/>
                  </a:cubicBezTo>
                  <a:cubicBezTo>
                    <a:pt x="243" y="252"/>
                    <a:pt x="244" y="253"/>
                    <a:pt x="246" y="254"/>
                  </a:cubicBezTo>
                  <a:cubicBezTo>
                    <a:pt x="247" y="255"/>
                    <a:pt x="248" y="256"/>
                    <a:pt x="250" y="256"/>
                  </a:cubicBezTo>
                  <a:cubicBezTo>
                    <a:pt x="251" y="257"/>
                    <a:pt x="253" y="258"/>
                    <a:pt x="254" y="258"/>
                  </a:cubicBezTo>
                  <a:cubicBezTo>
                    <a:pt x="256" y="259"/>
                    <a:pt x="257" y="259"/>
                    <a:pt x="259" y="260"/>
                  </a:cubicBezTo>
                  <a:cubicBezTo>
                    <a:pt x="265" y="261"/>
                    <a:pt x="272" y="261"/>
                    <a:pt x="278" y="259"/>
                  </a:cubicBezTo>
                  <a:cubicBezTo>
                    <a:pt x="284" y="257"/>
                    <a:pt x="289" y="254"/>
                    <a:pt x="294" y="250"/>
                  </a:cubicBezTo>
                  <a:cubicBezTo>
                    <a:pt x="300" y="246"/>
                    <a:pt x="304" y="240"/>
                    <a:pt x="308" y="233"/>
                  </a:cubicBezTo>
                  <a:cubicBezTo>
                    <a:pt x="311" y="227"/>
                    <a:pt x="314" y="219"/>
                    <a:pt x="315" y="211"/>
                  </a:cubicBezTo>
                  <a:cubicBezTo>
                    <a:pt x="316" y="203"/>
                    <a:pt x="316" y="195"/>
                    <a:pt x="315" y="188"/>
                  </a:cubicBezTo>
                  <a:cubicBezTo>
                    <a:pt x="314" y="180"/>
                    <a:pt x="311" y="173"/>
                    <a:pt x="308" y="167"/>
                  </a:cubicBezTo>
                  <a:cubicBezTo>
                    <a:pt x="304" y="161"/>
                    <a:pt x="300" y="156"/>
                    <a:pt x="295" y="152"/>
                  </a:cubicBezTo>
                  <a:cubicBezTo>
                    <a:pt x="290" y="148"/>
                    <a:pt x="284" y="145"/>
                    <a:pt x="278" y="144"/>
                  </a:cubicBezTo>
                  <a:cubicBezTo>
                    <a:pt x="276" y="144"/>
                    <a:pt x="275" y="144"/>
                    <a:pt x="273" y="144"/>
                  </a:cubicBezTo>
                  <a:cubicBezTo>
                    <a:pt x="271" y="143"/>
                    <a:pt x="270" y="144"/>
                    <a:pt x="268" y="144"/>
                  </a:cubicBezTo>
                  <a:cubicBezTo>
                    <a:pt x="267" y="144"/>
                    <a:pt x="265" y="144"/>
                    <a:pt x="264" y="144"/>
                  </a:cubicBezTo>
                  <a:cubicBezTo>
                    <a:pt x="262" y="145"/>
                    <a:pt x="260" y="145"/>
                    <a:pt x="259" y="146"/>
                  </a:cubicBezTo>
                  <a:cubicBezTo>
                    <a:pt x="258" y="146"/>
                    <a:pt x="257" y="146"/>
                    <a:pt x="256" y="147"/>
                  </a:cubicBezTo>
                  <a:cubicBezTo>
                    <a:pt x="254" y="147"/>
                    <a:pt x="253" y="148"/>
                    <a:pt x="252" y="148"/>
                  </a:cubicBezTo>
                  <a:cubicBezTo>
                    <a:pt x="251" y="149"/>
                    <a:pt x="250" y="150"/>
                    <a:pt x="249" y="150"/>
                  </a:cubicBezTo>
                  <a:cubicBezTo>
                    <a:pt x="248" y="151"/>
                    <a:pt x="247" y="152"/>
                    <a:pt x="246" y="153"/>
                  </a:cubicBezTo>
                  <a:cubicBezTo>
                    <a:pt x="249" y="135"/>
                    <a:pt x="249" y="135"/>
                    <a:pt x="249" y="135"/>
                  </a:cubicBezTo>
                  <a:cubicBezTo>
                    <a:pt x="265" y="34"/>
                    <a:pt x="265" y="34"/>
                    <a:pt x="265" y="34"/>
                  </a:cubicBezTo>
                  <a:cubicBezTo>
                    <a:pt x="200" y="25"/>
                    <a:pt x="200" y="25"/>
                    <a:pt x="200" y="25"/>
                  </a:cubicBezTo>
                  <a:cubicBezTo>
                    <a:pt x="200" y="26"/>
                    <a:pt x="200" y="27"/>
                    <a:pt x="200" y="29"/>
                  </a:cubicBezTo>
                  <a:cubicBezTo>
                    <a:pt x="200" y="30"/>
                    <a:pt x="200" y="32"/>
                    <a:pt x="200" y="33"/>
                  </a:cubicBezTo>
                  <a:cubicBezTo>
                    <a:pt x="200" y="34"/>
                    <a:pt x="200" y="36"/>
                    <a:pt x="200" y="37"/>
                  </a:cubicBezTo>
                  <a:cubicBezTo>
                    <a:pt x="200" y="39"/>
                    <a:pt x="199" y="40"/>
                    <a:pt x="199" y="41"/>
                  </a:cubicBezTo>
                  <a:cubicBezTo>
                    <a:pt x="198" y="51"/>
                    <a:pt x="195" y="60"/>
                    <a:pt x="190" y="68"/>
                  </a:cubicBezTo>
                  <a:cubicBezTo>
                    <a:pt x="186" y="76"/>
                    <a:pt x="181" y="83"/>
                    <a:pt x="175" y="88"/>
                  </a:cubicBezTo>
                  <a:cubicBezTo>
                    <a:pt x="170" y="93"/>
                    <a:pt x="163" y="98"/>
                    <a:pt x="156" y="100"/>
                  </a:cubicBezTo>
                  <a:cubicBezTo>
                    <a:pt x="149" y="102"/>
                    <a:pt x="142" y="103"/>
                    <a:pt x="135" y="102"/>
                  </a:cubicBezTo>
                  <a:cubicBezTo>
                    <a:pt x="128" y="101"/>
                    <a:pt x="121" y="97"/>
                    <a:pt x="116" y="93"/>
                  </a:cubicBezTo>
                  <a:cubicBezTo>
                    <a:pt x="110" y="88"/>
                    <a:pt x="106" y="82"/>
                    <a:pt x="102" y="76"/>
                  </a:cubicBezTo>
                  <a:cubicBezTo>
                    <a:pt x="99" y="69"/>
                    <a:pt x="96" y="61"/>
                    <a:pt x="95" y="52"/>
                  </a:cubicBezTo>
                  <a:cubicBezTo>
                    <a:pt x="94" y="44"/>
                    <a:pt x="94" y="35"/>
                    <a:pt x="95" y="26"/>
                  </a:cubicBezTo>
                  <a:cubicBezTo>
                    <a:pt x="96" y="24"/>
                    <a:pt x="96" y="23"/>
                    <a:pt x="96" y="22"/>
                  </a:cubicBezTo>
                  <a:cubicBezTo>
                    <a:pt x="96" y="20"/>
                    <a:pt x="97" y="19"/>
                    <a:pt x="97" y="18"/>
                  </a:cubicBezTo>
                  <a:cubicBezTo>
                    <a:pt x="97" y="16"/>
                    <a:pt x="98" y="15"/>
                    <a:pt x="98" y="14"/>
                  </a:cubicBezTo>
                  <a:cubicBezTo>
                    <a:pt x="99" y="13"/>
                    <a:pt x="99" y="11"/>
                    <a:pt x="99" y="10"/>
                  </a:cubicBezTo>
                  <a:lnTo>
                    <a:pt x="33"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lIns="121920" tIns="60960" rIns="121920" bIns="6096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lumMod val="65000"/>
                  </a:srgbClr>
                </a:solidFill>
                <a:effectLst/>
                <a:uLnTx/>
                <a:uFillTx/>
                <a:latin typeface="Aa楷体" panose="02000500000000000000" pitchFamily="2" charset="-122"/>
                <a:ea typeface="+mn-ea"/>
                <a:cs typeface="+mn-cs"/>
                <a:sym typeface="YRDZST"/>
              </a:endParaRPr>
            </a:p>
          </p:txBody>
        </p:sp>
        <p:sp>
          <p:nvSpPr>
            <p:cNvPr id="39" name="Freeform 37">
              <a:extLst>
                <a:ext uri="{FF2B5EF4-FFF2-40B4-BE49-F238E27FC236}">
                  <a16:creationId xmlns:a16="http://schemas.microsoft.com/office/drawing/2014/main" id="{81793005-C9BD-4984-AB07-F04B84DC6B51}"/>
                </a:ext>
              </a:extLst>
            </p:cNvPr>
            <p:cNvSpPr>
              <a:spLocks/>
            </p:cNvSpPr>
            <p:nvPr/>
          </p:nvSpPr>
          <p:spPr bwMode="auto">
            <a:xfrm>
              <a:off x="4148092" y="215900"/>
              <a:ext cx="2239954" cy="2359454"/>
            </a:xfrm>
            <a:custGeom>
              <a:avLst/>
              <a:gdLst>
                <a:gd name="T0" fmla="*/ 271 w 352"/>
                <a:gd name="T1" fmla="*/ 4 h 371"/>
                <a:gd name="T2" fmla="*/ 233 w 352"/>
                <a:gd name="T3" fmla="*/ 36 h 371"/>
                <a:gd name="T4" fmla="*/ 193 w 352"/>
                <a:gd name="T5" fmla="*/ 41 h 371"/>
                <a:gd name="T6" fmla="*/ 132 w 352"/>
                <a:gd name="T7" fmla="*/ 18 h 371"/>
                <a:gd name="T8" fmla="*/ 82 w 352"/>
                <a:gd name="T9" fmla="*/ 119 h 371"/>
                <a:gd name="T10" fmla="*/ 77 w 352"/>
                <a:gd name="T11" fmla="*/ 134 h 371"/>
                <a:gd name="T12" fmla="*/ 71 w 352"/>
                <a:gd name="T13" fmla="*/ 130 h 371"/>
                <a:gd name="T14" fmla="*/ 65 w 352"/>
                <a:gd name="T15" fmla="*/ 127 h 371"/>
                <a:gd name="T16" fmla="*/ 58 w 352"/>
                <a:gd name="T17" fmla="*/ 125 h 371"/>
                <a:gd name="T18" fmla="*/ 36 w 352"/>
                <a:gd name="T19" fmla="*/ 127 h 371"/>
                <a:gd name="T20" fmla="*/ 8 w 352"/>
                <a:gd name="T21" fmla="*/ 155 h 371"/>
                <a:gd name="T22" fmla="*/ 1 w 352"/>
                <a:gd name="T23" fmla="*/ 199 h 371"/>
                <a:gd name="T24" fmla="*/ 19 w 352"/>
                <a:gd name="T25" fmla="*/ 231 h 371"/>
                <a:gd name="T26" fmla="*/ 40 w 352"/>
                <a:gd name="T27" fmla="*/ 237 h 371"/>
                <a:gd name="T28" fmla="*/ 47 w 352"/>
                <a:gd name="T29" fmla="*/ 236 h 371"/>
                <a:gd name="T30" fmla="*/ 54 w 352"/>
                <a:gd name="T31" fmla="*/ 234 h 371"/>
                <a:gd name="T32" fmla="*/ 61 w 352"/>
                <a:gd name="T33" fmla="*/ 231 h 371"/>
                <a:gd name="T34" fmla="*/ 61 w 352"/>
                <a:gd name="T35" fmla="*/ 246 h 371"/>
                <a:gd name="T36" fmla="*/ 126 w 352"/>
                <a:gd name="T37" fmla="*/ 343 h 371"/>
                <a:gd name="T38" fmla="*/ 126 w 352"/>
                <a:gd name="T39" fmla="*/ 333 h 371"/>
                <a:gd name="T40" fmla="*/ 127 w 352"/>
                <a:gd name="T41" fmla="*/ 323 h 371"/>
                <a:gd name="T42" fmla="*/ 153 w 352"/>
                <a:gd name="T43" fmla="*/ 273 h 371"/>
                <a:gd name="T44" fmla="*/ 201 w 352"/>
                <a:gd name="T45" fmla="*/ 256 h 371"/>
                <a:gd name="T46" fmla="*/ 242 w 352"/>
                <a:gd name="T47" fmla="*/ 283 h 371"/>
                <a:gd name="T48" fmla="*/ 253 w 352"/>
                <a:gd name="T49" fmla="*/ 340 h 371"/>
                <a:gd name="T50" fmla="*/ 251 w 352"/>
                <a:gd name="T51" fmla="*/ 350 h 371"/>
                <a:gd name="T52" fmla="*/ 247 w 352"/>
                <a:gd name="T53" fmla="*/ 360 h 371"/>
                <a:gd name="T54" fmla="*/ 332 w 352"/>
                <a:gd name="T55" fmla="*/ 310 h 371"/>
                <a:gd name="T56" fmla="*/ 314 w 352"/>
                <a:gd name="T57" fmla="*/ 198 h 371"/>
                <a:gd name="T58" fmla="*/ 313 w 352"/>
                <a:gd name="T59" fmla="*/ 139 h 371"/>
                <a:gd name="T60" fmla="*/ 343 w 352"/>
                <a:gd name="T61" fmla="*/ 103 h 371"/>
                <a:gd name="T62" fmla="*/ 349 w 352"/>
                <a:gd name="T63" fmla="*/ 48 h 371"/>
                <a:gd name="T64" fmla="*/ 320 w 352"/>
                <a:gd name="T65" fmla="*/ 6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2" h="371">
                  <a:moveTo>
                    <a:pt x="295" y="0"/>
                  </a:moveTo>
                  <a:cubicBezTo>
                    <a:pt x="286" y="0"/>
                    <a:pt x="278" y="1"/>
                    <a:pt x="271" y="4"/>
                  </a:cubicBezTo>
                  <a:cubicBezTo>
                    <a:pt x="263" y="7"/>
                    <a:pt x="256" y="11"/>
                    <a:pt x="250" y="17"/>
                  </a:cubicBezTo>
                  <a:cubicBezTo>
                    <a:pt x="243" y="22"/>
                    <a:pt x="237" y="29"/>
                    <a:pt x="233" y="36"/>
                  </a:cubicBezTo>
                  <a:cubicBezTo>
                    <a:pt x="228" y="43"/>
                    <a:pt x="224" y="51"/>
                    <a:pt x="221" y="60"/>
                  </a:cubicBezTo>
                  <a:cubicBezTo>
                    <a:pt x="212" y="53"/>
                    <a:pt x="203" y="47"/>
                    <a:pt x="193" y="41"/>
                  </a:cubicBezTo>
                  <a:cubicBezTo>
                    <a:pt x="184" y="36"/>
                    <a:pt x="174" y="31"/>
                    <a:pt x="163" y="27"/>
                  </a:cubicBezTo>
                  <a:cubicBezTo>
                    <a:pt x="153" y="23"/>
                    <a:pt x="143" y="20"/>
                    <a:pt x="132" y="18"/>
                  </a:cubicBezTo>
                  <a:cubicBezTo>
                    <a:pt x="121" y="15"/>
                    <a:pt x="110" y="14"/>
                    <a:pt x="99" y="13"/>
                  </a:cubicBezTo>
                  <a:cubicBezTo>
                    <a:pt x="82" y="119"/>
                    <a:pt x="82" y="119"/>
                    <a:pt x="82" y="119"/>
                  </a:cubicBezTo>
                  <a:cubicBezTo>
                    <a:pt x="79" y="136"/>
                    <a:pt x="79" y="136"/>
                    <a:pt x="79" y="136"/>
                  </a:cubicBezTo>
                  <a:cubicBezTo>
                    <a:pt x="78" y="135"/>
                    <a:pt x="77" y="135"/>
                    <a:pt x="77" y="134"/>
                  </a:cubicBezTo>
                  <a:cubicBezTo>
                    <a:pt x="76" y="133"/>
                    <a:pt x="75" y="132"/>
                    <a:pt x="74" y="132"/>
                  </a:cubicBezTo>
                  <a:cubicBezTo>
                    <a:pt x="73" y="131"/>
                    <a:pt x="72" y="130"/>
                    <a:pt x="71" y="130"/>
                  </a:cubicBezTo>
                  <a:cubicBezTo>
                    <a:pt x="70" y="129"/>
                    <a:pt x="69" y="129"/>
                    <a:pt x="69" y="128"/>
                  </a:cubicBezTo>
                  <a:cubicBezTo>
                    <a:pt x="67" y="128"/>
                    <a:pt x="66" y="127"/>
                    <a:pt x="65" y="127"/>
                  </a:cubicBezTo>
                  <a:cubicBezTo>
                    <a:pt x="64" y="126"/>
                    <a:pt x="63" y="126"/>
                    <a:pt x="62" y="125"/>
                  </a:cubicBezTo>
                  <a:cubicBezTo>
                    <a:pt x="61" y="125"/>
                    <a:pt x="59" y="125"/>
                    <a:pt x="58" y="125"/>
                  </a:cubicBezTo>
                  <a:cubicBezTo>
                    <a:pt x="57" y="124"/>
                    <a:pt x="56" y="124"/>
                    <a:pt x="54" y="124"/>
                  </a:cubicBezTo>
                  <a:cubicBezTo>
                    <a:pt x="48" y="124"/>
                    <a:pt x="42" y="125"/>
                    <a:pt x="36" y="127"/>
                  </a:cubicBezTo>
                  <a:cubicBezTo>
                    <a:pt x="30" y="130"/>
                    <a:pt x="25" y="134"/>
                    <a:pt x="20" y="138"/>
                  </a:cubicBezTo>
                  <a:cubicBezTo>
                    <a:pt x="15" y="143"/>
                    <a:pt x="11" y="149"/>
                    <a:pt x="8" y="155"/>
                  </a:cubicBezTo>
                  <a:cubicBezTo>
                    <a:pt x="5" y="162"/>
                    <a:pt x="2" y="169"/>
                    <a:pt x="1" y="177"/>
                  </a:cubicBezTo>
                  <a:cubicBezTo>
                    <a:pt x="0" y="184"/>
                    <a:pt x="0" y="192"/>
                    <a:pt x="1" y="199"/>
                  </a:cubicBezTo>
                  <a:cubicBezTo>
                    <a:pt x="2" y="205"/>
                    <a:pt x="4" y="212"/>
                    <a:pt x="7" y="217"/>
                  </a:cubicBezTo>
                  <a:cubicBezTo>
                    <a:pt x="11" y="223"/>
                    <a:pt x="15" y="227"/>
                    <a:pt x="19" y="231"/>
                  </a:cubicBezTo>
                  <a:cubicBezTo>
                    <a:pt x="24" y="234"/>
                    <a:pt x="30" y="236"/>
                    <a:pt x="36" y="237"/>
                  </a:cubicBezTo>
                  <a:cubicBezTo>
                    <a:pt x="37" y="237"/>
                    <a:pt x="39" y="237"/>
                    <a:pt x="40" y="237"/>
                  </a:cubicBezTo>
                  <a:cubicBezTo>
                    <a:pt x="41" y="237"/>
                    <a:pt x="42" y="237"/>
                    <a:pt x="44" y="237"/>
                  </a:cubicBezTo>
                  <a:cubicBezTo>
                    <a:pt x="45" y="237"/>
                    <a:pt x="46" y="236"/>
                    <a:pt x="47" y="236"/>
                  </a:cubicBezTo>
                  <a:cubicBezTo>
                    <a:pt x="49" y="236"/>
                    <a:pt x="50" y="236"/>
                    <a:pt x="51" y="235"/>
                  </a:cubicBezTo>
                  <a:cubicBezTo>
                    <a:pt x="52" y="235"/>
                    <a:pt x="53" y="235"/>
                    <a:pt x="54" y="234"/>
                  </a:cubicBezTo>
                  <a:cubicBezTo>
                    <a:pt x="56" y="234"/>
                    <a:pt x="57" y="233"/>
                    <a:pt x="58" y="233"/>
                  </a:cubicBezTo>
                  <a:cubicBezTo>
                    <a:pt x="59" y="232"/>
                    <a:pt x="60" y="232"/>
                    <a:pt x="61" y="231"/>
                  </a:cubicBezTo>
                  <a:cubicBezTo>
                    <a:pt x="62" y="230"/>
                    <a:pt x="63" y="230"/>
                    <a:pt x="64" y="229"/>
                  </a:cubicBezTo>
                  <a:cubicBezTo>
                    <a:pt x="61" y="246"/>
                    <a:pt x="61" y="246"/>
                    <a:pt x="61" y="246"/>
                  </a:cubicBezTo>
                  <a:cubicBezTo>
                    <a:pt x="47" y="332"/>
                    <a:pt x="47" y="332"/>
                    <a:pt x="47" y="332"/>
                  </a:cubicBezTo>
                  <a:cubicBezTo>
                    <a:pt x="126" y="343"/>
                    <a:pt x="126" y="343"/>
                    <a:pt x="126" y="343"/>
                  </a:cubicBezTo>
                  <a:cubicBezTo>
                    <a:pt x="126" y="342"/>
                    <a:pt x="126" y="340"/>
                    <a:pt x="126" y="338"/>
                  </a:cubicBezTo>
                  <a:cubicBezTo>
                    <a:pt x="126" y="337"/>
                    <a:pt x="126" y="335"/>
                    <a:pt x="126" y="333"/>
                  </a:cubicBezTo>
                  <a:cubicBezTo>
                    <a:pt x="126" y="332"/>
                    <a:pt x="126" y="330"/>
                    <a:pt x="126" y="328"/>
                  </a:cubicBezTo>
                  <a:cubicBezTo>
                    <a:pt x="127" y="327"/>
                    <a:pt x="127" y="325"/>
                    <a:pt x="127" y="323"/>
                  </a:cubicBezTo>
                  <a:cubicBezTo>
                    <a:pt x="129" y="313"/>
                    <a:pt x="132" y="303"/>
                    <a:pt x="136" y="295"/>
                  </a:cubicBezTo>
                  <a:cubicBezTo>
                    <a:pt x="141" y="287"/>
                    <a:pt x="147" y="279"/>
                    <a:pt x="153" y="273"/>
                  </a:cubicBezTo>
                  <a:cubicBezTo>
                    <a:pt x="160" y="267"/>
                    <a:pt x="167" y="262"/>
                    <a:pt x="175" y="259"/>
                  </a:cubicBezTo>
                  <a:cubicBezTo>
                    <a:pt x="183" y="256"/>
                    <a:pt x="192" y="255"/>
                    <a:pt x="201" y="256"/>
                  </a:cubicBezTo>
                  <a:cubicBezTo>
                    <a:pt x="209" y="257"/>
                    <a:pt x="217" y="260"/>
                    <a:pt x="225" y="265"/>
                  </a:cubicBezTo>
                  <a:cubicBezTo>
                    <a:pt x="232" y="269"/>
                    <a:pt x="238" y="276"/>
                    <a:pt x="242" y="283"/>
                  </a:cubicBezTo>
                  <a:cubicBezTo>
                    <a:pt x="247" y="291"/>
                    <a:pt x="251" y="300"/>
                    <a:pt x="253" y="309"/>
                  </a:cubicBezTo>
                  <a:cubicBezTo>
                    <a:pt x="254" y="319"/>
                    <a:pt x="255" y="329"/>
                    <a:pt x="253" y="340"/>
                  </a:cubicBezTo>
                  <a:cubicBezTo>
                    <a:pt x="253" y="342"/>
                    <a:pt x="252" y="343"/>
                    <a:pt x="252" y="345"/>
                  </a:cubicBezTo>
                  <a:cubicBezTo>
                    <a:pt x="252" y="347"/>
                    <a:pt x="251" y="349"/>
                    <a:pt x="251" y="350"/>
                  </a:cubicBezTo>
                  <a:cubicBezTo>
                    <a:pt x="250" y="352"/>
                    <a:pt x="250" y="354"/>
                    <a:pt x="249" y="355"/>
                  </a:cubicBezTo>
                  <a:cubicBezTo>
                    <a:pt x="248" y="357"/>
                    <a:pt x="248" y="359"/>
                    <a:pt x="247" y="360"/>
                  </a:cubicBezTo>
                  <a:cubicBezTo>
                    <a:pt x="328" y="371"/>
                    <a:pt x="328" y="371"/>
                    <a:pt x="328" y="371"/>
                  </a:cubicBezTo>
                  <a:cubicBezTo>
                    <a:pt x="331" y="351"/>
                    <a:pt x="332" y="330"/>
                    <a:pt x="332" y="310"/>
                  </a:cubicBezTo>
                  <a:cubicBezTo>
                    <a:pt x="332" y="290"/>
                    <a:pt x="330" y="271"/>
                    <a:pt x="327" y="252"/>
                  </a:cubicBezTo>
                  <a:cubicBezTo>
                    <a:pt x="324" y="233"/>
                    <a:pt x="320" y="215"/>
                    <a:pt x="314" y="198"/>
                  </a:cubicBezTo>
                  <a:cubicBezTo>
                    <a:pt x="308" y="180"/>
                    <a:pt x="301" y="164"/>
                    <a:pt x="293" y="149"/>
                  </a:cubicBezTo>
                  <a:cubicBezTo>
                    <a:pt x="300" y="146"/>
                    <a:pt x="307" y="143"/>
                    <a:pt x="313" y="139"/>
                  </a:cubicBezTo>
                  <a:cubicBezTo>
                    <a:pt x="319" y="134"/>
                    <a:pt x="325" y="129"/>
                    <a:pt x="330" y="123"/>
                  </a:cubicBezTo>
                  <a:cubicBezTo>
                    <a:pt x="335" y="117"/>
                    <a:pt x="339" y="110"/>
                    <a:pt x="343" y="103"/>
                  </a:cubicBezTo>
                  <a:cubicBezTo>
                    <a:pt x="346" y="95"/>
                    <a:pt x="348" y="87"/>
                    <a:pt x="350" y="79"/>
                  </a:cubicBezTo>
                  <a:cubicBezTo>
                    <a:pt x="352" y="68"/>
                    <a:pt x="351" y="58"/>
                    <a:pt x="349" y="48"/>
                  </a:cubicBezTo>
                  <a:cubicBezTo>
                    <a:pt x="347" y="39"/>
                    <a:pt x="343" y="30"/>
                    <a:pt x="338" y="23"/>
                  </a:cubicBezTo>
                  <a:cubicBezTo>
                    <a:pt x="333" y="16"/>
                    <a:pt x="327" y="10"/>
                    <a:pt x="320" y="6"/>
                  </a:cubicBezTo>
                  <a:cubicBezTo>
                    <a:pt x="312" y="2"/>
                    <a:pt x="304" y="0"/>
                    <a:pt x="295"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lIns="121920" tIns="60960" rIns="121920" bIns="6096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lumMod val="65000"/>
                  </a:srgbClr>
                </a:solidFill>
                <a:effectLst/>
                <a:uLnTx/>
                <a:uFillTx/>
                <a:latin typeface="Aa楷体" panose="02000500000000000000" pitchFamily="2" charset="-122"/>
                <a:ea typeface="+mn-ea"/>
                <a:cs typeface="+mn-cs"/>
                <a:sym typeface="YRDZST"/>
              </a:endParaRPr>
            </a:p>
          </p:txBody>
        </p:sp>
        <p:sp>
          <p:nvSpPr>
            <p:cNvPr id="40" name="Freeform 39">
              <a:extLst>
                <a:ext uri="{FF2B5EF4-FFF2-40B4-BE49-F238E27FC236}">
                  <a16:creationId xmlns:a16="http://schemas.microsoft.com/office/drawing/2014/main" id="{D5DF92ED-7752-4C0F-86E6-9DE54C85D4E7}"/>
                </a:ext>
              </a:extLst>
            </p:cNvPr>
            <p:cNvSpPr>
              <a:spLocks/>
            </p:cNvSpPr>
            <p:nvPr/>
          </p:nvSpPr>
          <p:spPr bwMode="auto">
            <a:xfrm>
              <a:off x="4103547" y="1938954"/>
              <a:ext cx="2119047" cy="2606059"/>
            </a:xfrm>
            <a:custGeom>
              <a:avLst/>
              <a:gdLst>
                <a:gd name="T0" fmla="*/ 205 w 333"/>
                <a:gd name="T1" fmla="*/ 0 h 410"/>
                <a:gd name="T2" fmla="*/ 185 w 333"/>
                <a:gd name="T3" fmla="*/ 3 h 410"/>
                <a:gd name="T4" fmla="*/ 167 w 333"/>
                <a:gd name="T5" fmla="*/ 14 h 410"/>
                <a:gd name="T6" fmla="*/ 154 w 333"/>
                <a:gd name="T7" fmla="*/ 31 h 410"/>
                <a:gd name="T8" fmla="*/ 146 w 333"/>
                <a:gd name="T9" fmla="*/ 54 h 410"/>
                <a:gd name="T10" fmla="*/ 146 w 333"/>
                <a:gd name="T11" fmla="*/ 59 h 410"/>
                <a:gd name="T12" fmla="*/ 145 w 333"/>
                <a:gd name="T13" fmla="*/ 64 h 410"/>
                <a:gd name="T14" fmla="*/ 146 w 333"/>
                <a:gd name="T15" fmla="*/ 69 h 410"/>
                <a:gd name="T16" fmla="*/ 146 w 333"/>
                <a:gd name="T17" fmla="*/ 74 h 410"/>
                <a:gd name="T18" fmla="*/ 150 w 333"/>
                <a:gd name="T19" fmla="*/ 90 h 410"/>
                <a:gd name="T20" fmla="*/ 136 w 333"/>
                <a:gd name="T21" fmla="*/ 88 h 410"/>
                <a:gd name="T22" fmla="*/ 52 w 333"/>
                <a:gd name="T23" fmla="*/ 76 h 410"/>
                <a:gd name="T24" fmla="*/ 36 w 333"/>
                <a:gd name="T25" fmla="*/ 170 h 410"/>
                <a:gd name="T26" fmla="*/ 41 w 333"/>
                <a:gd name="T27" fmla="*/ 169 h 410"/>
                <a:gd name="T28" fmla="*/ 46 w 333"/>
                <a:gd name="T29" fmla="*/ 169 h 410"/>
                <a:gd name="T30" fmla="*/ 50 w 333"/>
                <a:gd name="T31" fmla="*/ 169 h 410"/>
                <a:gd name="T32" fmla="*/ 55 w 333"/>
                <a:gd name="T33" fmla="*/ 169 h 410"/>
                <a:gd name="T34" fmla="*/ 77 w 333"/>
                <a:gd name="T35" fmla="*/ 179 h 410"/>
                <a:gd name="T36" fmla="*/ 93 w 333"/>
                <a:gd name="T37" fmla="*/ 198 h 410"/>
                <a:gd name="T38" fmla="*/ 102 w 333"/>
                <a:gd name="T39" fmla="*/ 224 h 410"/>
                <a:gd name="T40" fmla="*/ 102 w 333"/>
                <a:gd name="T41" fmla="*/ 254 h 410"/>
                <a:gd name="T42" fmla="*/ 93 w 333"/>
                <a:gd name="T43" fmla="*/ 282 h 410"/>
                <a:gd name="T44" fmla="*/ 76 w 333"/>
                <a:gd name="T45" fmla="*/ 302 h 410"/>
                <a:gd name="T46" fmla="*/ 55 w 333"/>
                <a:gd name="T47" fmla="*/ 314 h 410"/>
                <a:gd name="T48" fmla="*/ 32 w 333"/>
                <a:gd name="T49" fmla="*/ 314 h 410"/>
                <a:gd name="T50" fmla="*/ 14 w 333"/>
                <a:gd name="T51" fmla="*/ 306 h 410"/>
                <a:gd name="T52" fmla="*/ 0 w 333"/>
                <a:gd name="T53" fmla="*/ 397 h 410"/>
                <a:gd name="T54" fmla="*/ 156 w 333"/>
                <a:gd name="T55" fmla="*/ 376 h 410"/>
                <a:gd name="T56" fmla="*/ 141 w 333"/>
                <a:gd name="T57" fmla="*/ 361 h 410"/>
                <a:gd name="T58" fmla="*/ 131 w 333"/>
                <a:gd name="T59" fmla="*/ 342 h 410"/>
                <a:gd name="T60" fmla="*/ 126 w 333"/>
                <a:gd name="T61" fmla="*/ 319 h 410"/>
                <a:gd name="T62" fmla="*/ 126 w 333"/>
                <a:gd name="T63" fmla="*/ 295 h 410"/>
                <a:gd name="T64" fmla="*/ 136 w 333"/>
                <a:gd name="T65" fmla="*/ 267 h 410"/>
                <a:gd name="T66" fmla="*/ 153 w 333"/>
                <a:gd name="T67" fmla="*/ 246 h 410"/>
                <a:gd name="T68" fmla="*/ 175 w 333"/>
                <a:gd name="T69" fmla="*/ 234 h 410"/>
                <a:gd name="T70" fmla="*/ 201 w 333"/>
                <a:gd name="T71" fmla="*/ 233 h 410"/>
                <a:gd name="T72" fmla="*/ 254 w 333"/>
                <a:gd name="T73" fmla="*/ 294 h 410"/>
                <a:gd name="T74" fmla="*/ 333 w 333"/>
                <a:gd name="T75" fmla="*/ 116 h 410"/>
                <a:gd name="T76" fmla="*/ 246 w 333"/>
                <a:gd name="T77" fmla="*/ 104 h 410"/>
                <a:gd name="T78" fmla="*/ 231 w 333"/>
                <a:gd name="T79" fmla="*/ 102 h 410"/>
                <a:gd name="T80" fmla="*/ 234 w 333"/>
                <a:gd name="T81" fmla="*/ 98 h 410"/>
                <a:gd name="T82" fmla="*/ 236 w 333"/>
                <a:gd name="T83" fmla="*/ 95 h 410"/>
                <a:gd name="T84" fmla="*/ 238 w 333"/>
                <a:gd name="T85" fmla="*/ 91 h 410"/>
                <a:gd name="T86" fmla="*/ 240 w 333"/>
                <a:gd name="T87" fmla="*/ 87 h 410"/>
                <a:gd name="T88" fmla="*/ 242 w 333"/>
                <a:gd name="T89" fmla="*/ 82 h 410"/>
                <a:gd name="T90" fmla="*/ 244 w 333"/>
                <a:gd name="T91" fmla="*/ 78 h 410"/>
                <a:gd name="T92" fmla="*/ 246 w 333"/>
                <a:gd name="T93" fmla="*/ 72 h 410"/>
                <a:gd name="T94" fmla="*/ 247 w 333"/>
                <a:gd name="T95" fmla="*/ 67 h 410"/>
                <a:gd name="T96" fmla="*/ 246 w 333"/>
                <a:gd name="T97" fmla="*/ 43 h 410"/>
                <a:gd name="T98" fmla="*/ 238 w 333"/>
                <a:gd name="T99" fmla="*/ 22 h 410"/>
                <a:gd name="T100" fmla="*/ 224 w 333"/>
                <a:gd name="T101" fmla="*/ 7 h 410"/>
                <a:gd name="T102" fmla="*/ 205 w 333"/>
                <a:gd name="T103" fmla="*/ 0 h 410"/>
                <a:gd name="T104" fmla="*/ 205 w 333"/>
                <a:gd name="T105" fmla="*/ 0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3" h="410">
                  <a:moveTo>
                    <a:pt x="205" y="0"/>
                  </a:moveTo>
                  <a:cubicBezTo>
                    <a:pt x="198" y="0"/>
                    <a:pt x="192" y="1"/>
                    <a:pt x="185" y="3"/>
                  </a:cubicBezTo>
                  <a:cubicBezTo>
                    <a:pt x="179" y="5"/>
                    <a:pt x="173" y="9"/>
                    <a:pt x="167" y="14"/>
                  </a:cubicBezTo>
                  <a:cubicBezTo>
                    <a:pt x="162" y="19"/>
                    <a:pt x="157" y="25"/>
                    <a:pt x="154" y="31"/>
                  </a:cubicBezTo>
                  <a:cubicBezTo>
                    <a:pt x="150" y="38"/>
                    <a:pt x="148" y="46"/>
                    <a:pt x="146" y="54"/>
                  </a:cubicBezTo>
                  <a:cubicBezTo>
                    <a:pt x="146" y="55"/>
                    <a:pt x="146" y="57"/>
                    <a:pt x="146" y="59"/>
                  </a:cubicBezTo>
                  <a:cubicBezTo>
                    <a:pt x="146" y="61"/>
                    <a:pt x="145" y="62"/>
                    <a:pt x="145" y="64"/>
                  </a:cubicBezTo>
                  <a:cubicBezTo>
                    <a:pt x="145" y="66"/>
                    <a:pt x="145" y="67"/>
                    <a:pt x="146" y="69"/>
                  </a:cubicBezTo>
                  <a:cubicBezTo>
                    <a:pt x="146" y="71"/>
                    <a:pt x="146" y="72"/>
                    <a:pt x="146" y="74"/>
                  </a:cubicBezTo>
                  <a:cubicBezTo>
                    <a:pt x="147" y="80"/>
                    <a:pt x="148" y="85"/>
                    <a:pt x="150" y="90"/>
                  </a:cubicBezTo>
                  <a:cubicBezTo>
                    <a:pt x="136" y="88"/>
                    <a:pt x="136" y="88"/>
                    <a:pt x="136" y="88"/>
                  </a:cubicBezTo>
                  <a:cubicBezTo>
                    <a:pt x="52" y="76"/>
                    <a:pt x="52" y="76"/>
                    <a:pt x="52" y="76"/>
                  </a:cubicBezTo>
                  <a:cubicBezTo>
                    <a:pt x="36" y="170"/>
                    <a:pt x="36" y="170"/>
                    <a:pt x="36" y="170"/>
                  </a:cubicBezTo>
                  <a:cubicBezTo>
                    <a:pt x="38" y="170"/>
                    <a:pt x="40" y="169"/>
                    <a:pt x="41" y="169"/>
                  </a:cubicBezTo>
                  <a:cubicBezTo>
                    <a:pt x="43" y="169"/>
                    <a:pt x="44" y="169"/>
                    <a:pt x="46" y="169"/>
                  </a:cubicBezTo>
                  <a:cubicBezTo>
                    <a:pt x="47" y="169"/>
                    <a:pt x="49" y="169"/>
                    <a:pt x="50" y="169"/>
                  </a:cubicBezTo>
                  <a:cubicBezTo>
                    <a:pt x="52" y="169"/>
                    <a:pt x="54" y="169"/>
                    <a:pt x="55" y="169"/>
                  </a:cubicBezTo>
                  <a:cubicBezTo>
                    <a:pt x="63" y="171"/>
                    <a:pt x="70" y="174"/>
                    <a:pt x="77" y="179"/>
                  </a:cubicBezTo>
                  <a:cubicBezTo>
                    <a:pt x="83" y="184"/>
                    <a:pt x="89" y="191"/>
                    <a:pt x="93" y="198"/>
                  </a:cubicBezTo>
                  <a:cubicBezTo>
                    <a:pt x="97" y="206"/>
                    <a:pt x="100" y="215"/>
                    <a:pt x="102" y="224"/>
                  </a:cubicBezTo>
                  <a:cubicBezTo>
                    <a:pt x="104" y="234"/>
                    <a:pt x="104" y="244"/>
                    <a:pt x="102" y="254"/>
                  </a:cubicBezTo>
                  <a:cubicBezTo>
                    <a:pt x="100" y="264"/>
                    <a:pt x="97" y="273"/>
                    <a:pt x="93" y="282"/>
                  </a:cubicBezTo>
                  <a:cubicBezTo>
                    <a:pt x="88" y="290"/>
                    <a:pt x="83" y="297"/>
                    <a:pt x="76" y="302"/>
                  </a:cubicBezTo>
                  <a:cubicBezTo>
                    <a:pt x="70" y="308"/>
                    <a:pt x="63" y="312"/>
                    <a:pt x="55" y="314"/>
                  </a:cubicBezTo>
                  <a:cubicBezTo>
                    <a:pt x="48" y="316"/>
                    <a:pt x="40" y="316"/>
                    <a:pt x="32" y="314"/>
                  </a:cubicBezTo>
                  <a:cubicBezTo>
                    <a:pt x="25" y="313"/>
                    <a:pt x="20" y="310"/>
                    <a:pt x="14" y="306"/>
                  </a:cubicBezTo>
                  <a:cubicBezTo>
                    <a:pt x="0" y="397"/>
                    <a:pt x="0" y="397"/>
                    <a:pt x="0" y="397"/>
                  </a:cubicBezTo>
                  <a:cubicBezTo>
                    <a:pt x="53" y="410"/>
                    <a:pt x="108" y="401"/>
                    <a:pt x="156" y="376"/>
                  </a:cubicBezTo>
                  <a:cubicBezTo>
                    <a:pt x="150" y="372"/>
                    <a:pt x="145" y="367"/>
                    <a:pt x="141" y="361"/>
                  </a:cubicBezTo>
                  <a:cubicBezTo>
                    <a:pt x="137" y="355"/>
                    <a:pt x="134" y="349"/>
                    <a:pt x="131" y="342"/>
                  </a:cubicBezTo>
                  <a:cubicBezTo>
                    <a:pt x="128" y="335"/>
                    <a:pt x="126" y="327"/>
                    <a:pt x="126" y="319"/>
                  </a:cubicBezTo>
                  <a:cubicBezTo>
                    <a:pt x="125" y="312"/>
                    <a:pt x="125" y="304"/>
                    <a:pt x="126" y="295"/>
                  </a:cubicBezTo>
                  <a:cubicBezTo>
                    <a:pt x="128" y="285"/>
                    <a:pt x="131" y="276"/>
                    <a:pt x="136" y="267"/>
                  </a:cubicBezTo>
                  <a:cubicBezTo>
                    <a:pt x="140" y="259"/>
                    <a:pt x="146" y="252"/>
                    <a:pt x="153" y="246"/>
                  </a:cubicBezTo>
                  <a:cubicBezTo>
                    <a:pt x="160" y="240"/>
                    <a:pt x="167" y="236"/>
                    <a:pt x="175" y="234"/>
                  </a:cubicBezTo>
                  <a:cubicBezTo>
                    <a:pt x="184" y="231"/>
                    <a:pt x="192" y="231"/>
                    <a:pt x="201" y="233"/>
                  </a:cubicBezTo>
                  <a:cubicBezTo>
                    <a:pt x="230" y="238"/>
                    <a:pt x="249" y="266"/>
                    <a:pt x="254" y="294"/>
                  </a:cubicBezTo>
                  <a:cubicBezTo>
                    <a:pt x="295" y="243"/>
                    <a:pt x="321" y="181"/>
                    <a:pt x="333" y="116"/>
                  </a:cubicBezTo>
                  <a:cubicBezTo>
                    <a:pt x="246" y="104"/>
                    <a:pt x="246" y="104"/>
                    <a:pt x="246" y="104"/>
                  </a:cubicBezTo>
                  <a:cubicBezTo>
                    <a:pt x="231" y="102"/>
                    <a:pt x="231" y="102"/>
                    <a:pt x="231" y="102"/>
                  </a:cubicBezTo>
                  <a:cubicBezTo>
                    <a:pt x="232" y="101"/>
                    <a:pt x="233" y="100"/>
                    <a:pt x="234" y="98"/>
                  </a:cubicBezTo>
                  <a:cubicBezTo>
                    <a:pt x="234" y="97"/>
                    <a:pt x="235" y="96"/>
                    <a:pt x="236" y="95"/>
                  </a:cubicBezTo>
                  <a:cubicBezTo>
                    <a:pt x="237" y="94"/>
                    <a:pt x="238" y="92"/>
                    <a:pt x="238" y="91"/>
                  </a:cubicBezTo>
                  <a:cubicBezTo>
                    <a:pt x="239" y="90"/>
                    <a:pt x="240" y="89"/>
                    <a:pt x="240" y="87"/>
                  </a:cubicBezTo>
                  <a:cubicBezTo>
                    <a:pt x="241" y="86"/>
                    <a:pt x="242" y="84"/>
                    <a:pt x="242" y="82"/>
                  </a:cubicBezTo>
                  <a:cubicBezTo>
                    <a:pt x="243" y="81"/>
                    <a:pt x="244" y="79"/>
                    <a:pt x="244" y="78"/>
                  </a:cubicBezTo>
                  <a:cubicBezTo>
                    <a:pt x="245" y="76"/>
                    <a:pt x="245" y="74"/>
                    <a:pt x="246" y="72"/>
                  </a:cubicBezTo>
                  <a:cubicBezTo>
                    <a:pt x="246" y="71"/>
                    <a:pt x="246" y="69"/>
                    <a:pt x="247" y="67"/>
                  </a:cubicBezTo>
                  <a:cubicBezTo>
                    <a:pt x="248" y="59"/>
                    <a:pt x="248" y="50"/>
                    <a:pt x="246" y="43"/>
                  </a:cubicBezTo>
                  <a:cubicBezTo>
                    <a:pt x="245" y="35"/>
                    <a:pt x="242" y="28"/>
                    <a:pt x="238" y="22"/>
                  </a:cubicBezTo>
                  <a:cubicBezTo>
                    <a:pt x="235" y="16"/>
                    <a:pt x="230" y="11"/>
                    <a:pt x="224" y="7"/>
                  </a:cubicBezTo>
                  <a:cubicBezTo>
                    <a:pt x="219" y="4"/>
                    <a:pt x="212" y="1"/>
                    <a:pt x="205" y="0"/>
                  </a:cubicBezTo>
                  <a:cubicBezTo>
                    <a:pt x="198" y="0"/>
                    <a:pt x="212" y="1"/>
                    <a:pt x="205"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lIns="121920" tIns="60960" rIns="121920" bIns="6096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lumMod val="65000"/>
                  </a:srgbClr>
                </a:solidFill>
                <a:effectLst/>
                <a:uLnTx/>
                <a:uFillTx/>
                <a:latin typeface="Aa楷体" panose="02000500000000000000" pitchFamily="2" charset="-122"/>
                <a:ea typeface="+mn-ea"/>
                <a:cs typeface="+mn-cs"/>
                <a:sym typeface="YRDZST"/>
              </a:endParaRPr>
            </a:p>
          </p:txBody>
        </p:sp>
      </p:grpSp>
      <p:sp>
        <p:nvSpPr>
          <p:cNvPr id="41" name="Rectangle 1436">
            <a:extLst>
              <a:ext uri="{FF2B5EF4-FFF2-40B4-BE49-F238E27FC236}">
                <a16:creationId xmlns:a16="http://schemas.microsoft.com/office/drawing/2014/main" id="{18E1B6CB-313E-4C01-91F8-2F1D066D2100}"/>
              </a:ext>
            </a:extLst>
          </p:cNvPr>
          <p:cNvSpPr>
            <a:spLocks noChangeArrowheads="1"/>
          </p:cNvSpPr>
          <p:nvPr/>
        </p:nvSpPr>
        <p:spPr bwMode="auto">
          <a:xfrm>
            <a:off x="4886673" y="3844925"/>
            <a:ext cx="256480" cy="307777"/>
          </a:xfrm>
          <a:prstGeom prst="rect">
            <a:avLst/>
          </a:prstGeom>
          <a:noFill/>
          <a:ln>
            <a:noFill/>
          </a:ln>
          <a:effectLst>
            <a:outerShdw blurRad="50800" dist="38100" dir="8100000" algn="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altLang="zh-CN" sz="2000" b="0" i="0" u="none" strike="noStrike" kern="1200" cap="none" spc="0" normalizeH="0" baseline="0" noProof="0" dirty="0">
                <a:ln>
                  <a:noFill/>
                </a:ln>
                <a:solidFill>
                  <a:srgbClr val="FFFFFF"/>
                </a:solidFill>
                <a:effectLst/>
                <a:uLnTx/>
                <a:uFillTx/>
                <a:latin typeface="Aa楷体" panose="02000500000000000000" pitchFamily="2" charset="-122"/>
                <a:ea typeface="Aa楷体" panose="02000500000000000000" pitchFamily="2" charset="-122"/>
                <a:cs typeface="Aa楷体" panose="02000500000000000000" pitchFamily="2" charset="-122"/>
                <a:sym typeface="YRDZST"/>
              </a:rPr>
              <a:t>01</a:t>
            </a:r>
            <a:endParaRPr kumimoji="0" lang="en-US" altLang="zh-CN" sz="2000" b="0" i="0" u="none" strike="noStrike" kern="1200" cap="none" spc="0" normalizeH="0" baseline="0" noProof="0" dirty="0">
              <a:ln>
                <a:noFill/>
              </a:ln>
              <a:solidFill>
                <a:srgbClr val="FFFFFF"/>
              </a:solidFill>
              <a:effectLst/>
              <a:uLnTx/>
              <a:uFillTx/>
              <a:latin typeface="Aa楷体" panose="02000500000000000000" pitchFamily="2" charset="-122"/>
              <a:ea typeface="Aa楷体" panose="02000500000000000000" pitchFamily="2" charset="-122"/>
              <a:cs typeface="Aa楷体" panose="02000500000000000000" pitchFamily="2" charset="-122"/>
              <a:sym typeface="YRDZST"/>
            </a:endParaRPr>
          </a:p>
        </p:txBody>
      </p:sp>
      <p:sp>
        <p:nvSpPr>
          <p:cNvPr id="42" name="Rectangle 1436">
            <a:extLst>
              <a:ext uri="{FF2B5EF4-FFF2-40B4-BE49-F238E27FC236}">
                <a16:creationId xmlns:a16="http://schemas.microsoft.com/office/drawing/2014/main" id="{91311761-F851-4AC6-890B-72496532AFBC}"/>
              </a:ext>
            </a:extLst>
          </p:cNvPr>
          <p:cNvSpPr>
            <a:spLocks noChangeArrowheads="1"/>
          </p:cNvSpPr>
          <p:nvPr/>
        </p:nvSpPr>
        <p:spPr bwMode="auto">
          <a:xfrm>
            <a:off x="5721574" y="2755900"/>
            <a:ext cx="282129" cy="307777"/>
          </a:xfrm>
          <a:prstGeom prst="rect">
            <a:avLst/>
          </a:prstGeom>
          <a:noFill/>
          <a:ln>
            <a:noFill/>
          </a:ln>
          <a:effectLst>
            <a:outerShdw blurRad="50800" dist="38100" dir="8100000" algn="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altLang="zh-CN" sz="2000" b="0" i="0" u="none" strike="noStrike" kern="1200" cap="none" spc="0" normalizeH="0" baseline="0" noProof="0" dirty="0">
                <a:ln>
                  <a:noFill/>
                </a:ln>
                <a:solidFill>
                  <a:srgbClr val="FFFFFF"/>
                </a:solidFill>
                <a:effectLst/>
                <a:uLnTx/>
                <a:uFillTx/>
                <a:latin typeface="Aa楷体" panose="02000500000000000000" pitchFamily="2" charset="-122"/>
                <a:ea typeface="Aa楷体" panose="02000500000000000000" pitchFamily="2" charset="-122"/>
                <a:cs typeface="Aa楷体" panose="02000500000000000000" pitchFamily="2" charset="-122"/>
                <a:sym typeface="YRDZST"/>
              </a:rPr>
              <a:t>02</a:t>
            </a:r>
            <a:endParaRPr kumimoji="0" lang="en-US" altLang="zh-CN" sz="2000" b="0" i="0" u="none" strike="noStrike" kern="1200" cap="none" spc="0" normalizeH="0" baseline="0" noProof="0" dirty="0">
              <a:ln>
                <a:noFill/>
              </a:ln>
              <a:solidFill>
                <a:srgbClr val="FFFFFF"/>
              </a:solidFill>
              <a:effectLst/>
              <a:uLnTx/>
              <a:uFillTx/>
              <a:latin typeface="Aa楷体" panose="02000500000000000000" pitchFamily="2" charset="-122"/>
              <a:ea typeface="Aa楷体" panose="02000500000000000000" pitchFamily="2" charset="-122"/>
              <a:cs typeface="Aa楷体" panose="02000500000000000000" pitchFamily="2" charset="-122"/>
              <a:sym typeface="YRDZST"/>
            </a:endParaRPr>
          </a:p>
        </p:txBody>
      </p:sp>
      <p:sp>
        <p:nvSpPr>
          <p:cNvPr id="43" name="Rectangle 1436">
            <a:extLst>
              <a:ext uri="{FF2B5EF4-FFF2-40B4-BE49-F238E27FC236}">
                <a16:creationId xmlns:a16="http://schemas.microsoft.com/office/drawing/2014/main" id="{A6CDC4C8-0D20-4328-8704-26F1F37CA2A2}"/>
              </a:ext>
            </a:extLst>
          </p:cNvPr>
          <p:cNvSpPr>
            <a:spLocks noChangeArrowheads="1"/>
          </p:cNvSpPr>
          <p:nvPr/>
        </p:nvSpPr>
        <p:spPr bwMode="auto">
          <a:xfrm>
            <a:off x="6651054" y="3670300"/>
            <a:ext cx="282129" cy="307777"/>
          </a:xfrm>
          <a:prstGeom prst="rect">
            <a:avLst/>
          </a:prstGeom>
          <a:noFill/>
          <a:ln>
            <a:noFill/>
          </a:ln>
          <a:effectLst>
            <a:outerShdw blurRad="50800" dist="38100" dir="8100000" algn="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altLang="zh-CN" sz="2000" b="0" i="0" u="none" strike="noStrike" kern="1200" cap="none" spc="0" normalizeH="0" baseline="0" noProof="0" dirty="0">
                <a:ln>
                  <a:noFill/>
                </a:ln>
                <a:solidFill>
                  <a:srgbClr val="FFFFFF"/>
                </a:solidFill>
                <a:effectLst/>
                <a:uLnTx/>
                <a:uFillTx/>
                <a:latin typeface="Aa楷体" panose="02000500000000000000" pitchFamily="2" charset="-122"/>
                <a:ea typeface="Aa楷体" panose="02000500000000000000" pitchFamily="2" charset="-122"/>
                <a:cs typeface="Aa楷体" panose="02000500000000000000" pitchFamily="2" charset="-122"/>
                <a:sym typeface="YRDZST"/>
              </a:rPr>
              <a:t>03</a:t>
            </a:r>
            <a:endParaRPr kumimoji="0" lang="en-US" altLang="zh-CN" sz="2000" b="0" i="0" u="none" strike="noStrike" kern="1200" cap="none" spc="0" normalizeH="0" baseline="0" noProof="0" dirty="0">
              <a:ln>
                <a:noFill/>
              </a:ln>
              <a:solidFill>
                <a:srgbClr val="FFFFFF"/>
              </a:solidFill>
              <a:effectLst/>
              <a:uLnTx/>
              <a:uFillTx/>
              <a:latin typeface="Aa楷体" panose="02000500000000000000" pitchFamily="2" charset="-122"/>
              <a:ea typeface="Aa楷体" panose="02000500000000000000" pitchFamily="2" charset="-122"/>
              <a:cs typeface="Aa楷体" panose="02000500000000000000" pitchFamily="2" charset="-122"/>
              <a:sym typeface="YRDZST"/>
            </a:endParaRPr>
          </a:p>
        </p:txBody>
      </p:sp>
      <p:sp>
        <p:nvSpPr>
          <p:cNvPr id="44" name="Rectangle 1436">
            <a:extLst>
              <a:ext uri="{FF2B5EF4-FFF2-40B4-BE49-F238E27FC236}">
                <a16:creationId xmlns:a16="http://schemas.microsoft.com/office/drawing/2014/main" id="{24F48684-61CE-4F61-99DD-7891A47407BD}"/>
              </a:ext>
            </a:extLst>
          </p:cNvPr>
          <p:cNvSpPr>
            <a:spLocks noChangeArrowheads="1"/>
          </p:cNvSpPr>
          <p:nvPr/>
        </p:nvSpPr>
        <p:spPr bwMode="auto">
          <a:xfrm>
            <a:off x="5654104" y="4876800"/>
            <a:ext cx="282129" cy="307777"/>
          </a:xfrm>
          <a:prstGeom prst="rect">
            <a:avLst/>
          </a:prstGeom>
          <a:noFill/>
          <a:ln>
            <a:noFill/>
          </a:ln>
          <a:effectLst>
            <a:outerShdw blurRad="50800" dist="38100" dir="8100000" algn="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altLang="zh-CN" sz="2000" b="0" i="0" u="none" strike="noStrike" kern="1200" cap="none" spc="0" normalizeH="0" baseline="0" noProof="0" dirty="0">
                <a:ln>
                  <a:noFill/>
                </a:ln>
                <a:solidFill>
                  <a:srgbClr val="FFFFFF"/>
                </a:solidFill>
                <a:effectLst/>
                <a:uLnTx/>
                <a:uFillTx/>
                <a:latin typeface="Aa楷体" panose="02000500000000000000" pitchFamily="2" charset="-122"/>
                <a:ea typeface="Aa楷体" panose="02000500000000000000" pitchFamily="2" charset="-122"/>
                <a:cs typeface="Aa楷体" panose="02000500000000000000" pitchFamily="2" charset="-122"/>
                <a:sym typeface="YRDZST"/>
              </a:rPr>
              <a:t>04</a:t>
            </a:r>
            <a:endParaRPr kumimoji="0" lang="en-US" altLang="zh-CN" sz="2000" b="0" i="0" u="none" strike="noStrike" kern="1200" cap="none" spc="0" normalizeH="0" baseline="0" noProof="0" dirty="0">
              <a:ln>
                <a:noFill/>
              </a:ln>
              <a:solidFill>
                <a:srgbClr val="FFFFFF"/>
              </a:solidFill>
              <a:effectLst/>
              <a:uLnTx/>
              <a:uFillTx/>
              <a:latin typeface="Aa楷体" panose="02000500000000000000" pitchFamily="2" charset="-122"/>
              <a:ea typeface="Aa楷体" panose="02000500000000000000" pitchFamily="2" charset="-122"/>
              <a:cs typeface="Aa楷体" panose="02000500000000000000" pitchFamily="2" charset="-122"/>
              <a:sym typeface="YRDZST"/>
            </a:endParaRPr>
          </a:p>
        </p:txBody>
      </p:sp>
      <p:grpSp>
        <p:nvGrpSpPr>
          <p:cNvPr id="64" name="Group 63">
            <a:extLst>
              <a:ext uri="{FF2B5EF4-FFF2-40B4-BE49-F238E27FC236}">
                <a16:creationId xmlns:a16="http://schemas.microsoft.com/office/drawing/2014/main" id="{70C8F5DE-AE35-4AED-9D5E-12857E611E18}"/>
              </a:ext>
            </a:extLst>
          </p:cNvPr>
          <p:cNvGrpSpPr>
            <a:grpSpLocks/>
          </p:cNvGrpSpPr>
          <p:nvPr/>
        </p:nvGrpSpPr>
        <p:grpSpPr bwMode="auto">
          <a:xfrm>
            <a:off x="827165" y="2663627"/>
            <a:ext cx="2428875" cy="1350994"/>
            <a:chOff x="488660" y="4537858"/>
            <a:chExt cx="2428294" cy="1350706"/>
          </a:xfrm>
        </p:grpSpPr>
        <p:sp>
          <p:nvSpPr>
            <p:cNvPr id="65" name="TextBox 64">
              <a:extLst>
                <a:ext uri="{FF2B5EF4-FFF2-40B4-BE49-F238E27FC236}">
                  <a16:creationId xmlns:a16="http://schemas.microsoft.com/office/drawing/2014/main" id="{5583B25D-0D9B-4575-9426-6ED8DB1D7914}"/>
                </a:ext>
              </a:extLst>
            </p:cNvPr>
            <p:cNvSpPr txBox="1"/>
            <p:nvPr/>
          </p:nvSpPr>
          <p:spPr>
            <a:xfrm>
              <a:off x="488660" y="4873117"/>
              <a:ext cx="2428294" cy="1015447"/>
            </a:xfrm>
            <a:prstGeom prst="rect">
              <a:avLst/>
            </a:prstGeom>
            <a:noFill/>
          </p:spPr>
          <p:txBody>
            <a:bodyP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200" dirty="0">
                  <a:solidFill>
                    <a:schemeClr val="accent4">
                      <a:lumMod val="90000"/>
                    </a:schemeClr>
                  </a:solidFill>
                  <a:latin typeface="Aa楷体" panose="02000500000000000000" pitchFamily="2" charset="-122"/>
                  <a:sym typeface="YRDZST"/>
                </a:rPr>
                <a:t>B</a:t>
              </a:r>
              <a:r>
                <a:rPr kumimoji="0" lang="en-US" sz="1200" b="0" i="0" u="none" strike="noStrike" kern="1200" cap="none" spc="0" normalizeH="0" baseline="0" noProof="0" dirty="0" err="1">
                  <a:ln>
                    <a:noFill/>
                  </a:ln>
                  <a:solidFill>
                    <a:schemeClr val="accent4">
                      <a:lumMod val="90000"/>
                    </a:schemeClr>
                  </a:solidFill>
                  <a:effectLst/>
                  <a:uLnTx/>
                  <a:uFillTx/>
                  <a:latin typeface="Aa楷体" panose="02000500000000000000" pitchFamily="2" charset="-122"/>
                  <a:ea typeface="+mn-ea"/>
                  <a:cs typeface="+mn-cs"/>
                  <a:sym typeface="YRDZST"/>
                </a:rPr>
                <a:t>onding</a:t>
              </a:r>
              <a:r>
                <a:rPr kumimoji="0" lang="en-US" sz="1200" b="0" i="0" u="none" strike="noStrike" kern="1200" cap="none" spc="0" normalizeH="0" baseline="0" noProof="0" dirty="0">
                  <a:ln>
                    <a:noFill/>
                  </a:ln>
                  <a:solidFill>
                    <a:schemeClr val="accent4">
                      <a:lumMod val="90000"/>
                    </a:schemeClr>
                  </a:solidFill>
                  <a:effectLst/>
                  <a:uLnTx/>
                  <a:uFillTx/>
                  <a:latin typeface="Aa楷体" panose="02000500000000000000" pitchFamily="2" charset="-122"/>
                  <a:ea typeface="+mn-ea"/>
                  <a:cs typeface="+mn-cs"/>
                  <a:sym typeface="YRDZST"/>
                </a:rPr>
                <a:t> of states (attributes) and behaviors (methods) of the object while hiding the corresponding internal implementation details. </a:t>
              </a:r>
            </a:p>
          </p:txBody>
        </p:sp>
        <p:sp>
          <p:nvSpPr>
            <p:cNvPr id="79897" name="TextBox 65">
              <a:extLst>
                <a:ext uri="{FF2B5EF4-FFF2-40B4-BE49-F238E27FC236}">
                  <a16:creationId xmlns:a16="http://schemas.microsoft.com/office/drawing/2014/main" id="{5006F55B-24F4-40DB-8391-D497B5694BAB}"/>
                </a:ext>
              </a:extLst>
            </p:cNvPr>
            <p:cNvSpPr txBox="1">
              <a:spLocks noChangeArrowheads="1"/>
            </p:cNvSpPr>
            <p:nvPr/>
          </p:nvSpPr>
          <p:spPr bwMode="auto">
            <a:xfrm>
              <a:off x="598172" y="4537858"/>
              <a:ext cx="2060082" cy="399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zh-CN" sz="2000" b="1" i="0" u="none" strike="noStrike" kern="1200" cap="none" spc="0" normalizeH="0" baseline="0" noProof="0" dirty="0">
                  <a:ln>
                    <a:noFill/>
                  </a:ln>
                  <a:solidFill>
                    <a:schemeClr val="accent4">
                      <a:lumMod val="25000"/>
                    </a:schemeClr>
                  </a:solidFill>
                  <a:effectLst/>
                  <a:uLnTx/>
                  <a:uFillTx/>
                  <a:latin typeface="Aa楷体" panose="02000500000000000000" pitchFamily="2" charset="-122"/>
                  <a:ea typeface="Aa楷体" panose="02000500000000000000" pitchFamily="2" charset="-122"/>
                  <a:cs typeface="+mn-cs"/>
                  <a:sym typeface="YRDZST"/>
                </a:rPr>
                <a:t>Encapsulation</a:t>
              </a:r>
              <a:endParaRPr kumimoji="0" lang="en-US" altLang="zh-CN" sz="1600" b="1" i="0" u="none" strike="noStrike" kern="1200" cap="none" spc="0" normalizeH="0" baseline="0" noProof="0" dirty="0">
                <a:ln>
                  <a:noFill/>
                </a:ln>
                <a:solidFill>
                  <a:schemeClr val="accent4">
                    <a:lumMod val="25000"/>
                  </a:schemeClr>
                </a:solidFill>
                <a:effectLst/>
                <a:uLnTx/>
                <a:uFillTx/>
                <a:latin typeface="Aa楷体" panose="02000500000000000000" pitchFamily="2" charset="-122"/>
                <a:ea typeface="Aa楷体" panose="02000500000000000000" pitchFamily="2" charset="-122"/>
                <a:cs typeface="+mn-cs"/>
                <a:sym typeface="YRDZST"/>
              </a:endParaRPr>
            </a:p>
          </p:txBody>
        </p:sp>
      </p:grpSp>
      <p:sp>
        <p:nvSpPr>
          <p:cNvPr id="72" name="文本框 71">
            <a:extLst>
              <a:ext uri="{FF2B5EF4-FFF2-40B4-BE49-F238E27FC236}">
                <a16:creationId xmlns:a16="http://schemas.microsoft.com/office/drawing/2014/main" id="{F05FB59F-2CF4-4401-82A0-F5610D17BB16}"/>
              </a:ext>
            </a:extLst>
          </p:cNvPr>
          <p:cNvSpPr txBox="1"/>
          <p:nvPr/>
        </p:nvSpPr>
        <p:spPr>
          <a:xfrm>
            <a:off x="396554" y="338992"/>
            <a:ext cx="3458845" cy="461645"/>
          </a:xfrm>
          <a:prstGeom prst="rect">
            <a:avLst/>
          </a:prstGeom>
          <a:noFill/>
          <a:ln w="0">
            <a:noFill/>
          </a:ln>
        </p:spPr>
        <p:txBody>
          <a:bodyPr vert="horz" wrap="square" lIns="89535" tIns="46355" rIns="89535" bIns="46355" numCol="1" anchor="t">
            <a:spAutoFit/>
          </a:bodyPr>
          <a:lstStyle/>
          <a:p>
            <a:pPr marL="0" marR="0" lvl="0" indent="0" algn="l" defTabSz="508000" rtl="0" eaLnBrk="0" fontAlgn="auto" latinLnBrk="0" hangingPunct="1">
              <a:lnSpc>
                <a:spcPct val="100000"/>
              </a:lnSpc>
              <a:spcBef>
                <a:spcPts val="0"/>
              </a:spcBef>
              <a:spcAft>
                <a:spcPts val="0"/>
              </a:spcAft>
              <a:buClrTx/>
              <a:buSzTx/>
              <a:buFontTx/>
              <a:buNone/>
              <a:tabLst/>
              <a:defRPr/>
            </a:pPr>
            <a:r>
              <a:rPr lang="en-US" altLang="ko-KR" sz="2400" b="1" dirty="0">
                <a:solidFill>
                  <a:srgbClr val="000000"/>
                </a:solidFill>
                <a:latin typeface="Calibri" panose="020F0502020204030204" pitchFamily="34" charset="0"/>
                <a:ea typeface="Calibri" panose="020F0502020204030204" pitchFamily="34" charset="0"/>
                <a:cs typeface="Calibri" panose="020F0502020204030204" pitchFamily="34" charset="0"/>
                <a:sym typeface="YRDZST"/>
              </a:rPr>
              <a:t>OOP</a:t>
            </a:r>
            <a:r>
              <a:rPr lang="zh-CN" altLang="en-US" sz="2400" b="1" dirty="0">
                <a:solidFill>
                  <a:srgbClr val="000000"/>
                </a:solidFill>
                <a:latin typeface="Calibri" panose="020F0502020204030204" pitchFamily="34" charset="0"/>
                <a:ea typeface="Aa楷体" panose="02000500000000000000" pitchFamily="2" charset="-122"/>
                <a:cs typeface="Calibri" panose="020F0502020204030204" pitchFamily="34" charset="0"/>
                <a:sym typeface="YRDZST"/>
              </a:rPr>
              <a:t> </a:t>
            </a:r>
            <a:r>
              <a:rPr lang="en-US" altLang="zh-CN" sz="2400" b="1" dirty="0">
                <a:solidFill>
                  <a:srgbClr val="000000"/>
                </a:solidFill>
                <a:latin typeface="Calibri" panose="020F0502020204030204" pitchFamily="34" charset="0"/>
                <a:ea typeface="Calibri" panose="020F0502020204030204" pitchFamily="34" charset="0"/>
                <a:cs typeface="Calibri" panose="020F0502020204030204" pitchFamily="34" charset="0"/>
                <a:sym typeface="YRDZST"/>
              </a:rPr>
              <a:t>Principles</a:t>
            </a:r>
            <a:endParaRPr kumimoji="0" lang="ko-KR" altLang="en-US" sz="2400" b="1" i="0" u="none" strike="noStrike" kern="1200" cap="none" spc="0" normalizeH="0" baseline="0" noProof="0" dirty="0">
              <a:ln>
                <a:noFill/>
              </a:ln>
              <a:solidFill>
                <a:srgbClr val="F0F0F0">
                  <a:lumMod val="25000"/>
                </a:srgbClr>
              </a:solidFill>
              <a:effectLst/>
              <a:uLnTx/>
              <a:uFillTx/>
              <a:latin typeface="Calibri" panose="020F0502020204030204" pitchFamily="34" charset="0"/>
              <a:ea typeface="微软雅黑" panose="020B0503020204020204" charset="-122"/>
              <a:cs typeface="Calibri" panose="020F0502020204030204" pitchFamily="34" charset="0"/>
              <a:sym typeface="YRDZST"/>
            </a:endParaRPr>
          </a:p>
        </p:txBody>
      </p:sp>
      <p:grpSp>
        <p:nvGrpSpPr>
          <p:cNvPr id="2" name="Group 63">
            <a:extLst>
              <a:ext uri="{FF2B5EF4-FFF2-40B4-BE49-F238E27FC236}">
                <a16:creationId xmlns:a16="http://schemas.microsoft.com/office/drawing/2014/main" id="{7C0C382F-E816-0855-DF01-821656712DD4}"/>
              </a:ext>
            </a:extLst>
          </p:cNvPr>
          <p:cNvGrpSpPr>
            <a:grpSpLocks/>
          </p:cNvGrpSpPr>
          <p:nvPr/>
        </p:nvGrpSpPr>
        <p:grpSpPr bwMode="auto">
          <a:xfrm>
            <a:off x="821508" y="4502150"/>
            <a:ext cx="2428875" cy="1318949"/>
            <a:chOff x="488660" y="4569896"/>
            <a:chExt cx="2428294" cy="1318668"/>
          </a:xfrm>
        </p:grpSpPr>
        <p:sp>
          <p:nvSpPr>
            <p:cNvPr id="3" name="TextBox 64">
              <a:extLst>
                <a:ext uri="{FF2B5EF4-FFF2-40B4-BE49-F238E27FC236}">
                  <a16:creationId xmlns:a16="http://schemas.microsoft.com/office/drawing/2014/main" id="{627F1D73-304B-CBC3-13FF-99C89A14FD08}"/>
                </a:ext>
              </a:extLst>
            </p:cNvPr>
            <p:cNvSpPr txBox="1"/>
            <p:nvPr/>
          </p:nvSpPr>
          <p:spPr>
            <a:xfrm>
              <a:off x="488660" y="4873117"/>
              <a:ext cx="2428294" cy="1015447"/>
            </a:xfrm>
            <a:prstGeom prst="rect">
              <a:avLst/>
            </a:prstGeom>
            <a:noFill/>
          </p:spPr>
          <p:txBody>
            <a:bodyP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200" dirty="0">
                  <a:solidFill>
                    <a:schemeClr val="accent4">
                      <a:lumMod val="90000"/>
                    </a:schemeClr>
                  </a:solidFill>
                  <a:latin typeface="Aa楷体" panose="02000500000000000000" pitchFamily="2" charset="-122"/>
                  <a:sym typeface="YRDZST"/>
                </a:rPr>
                <a:t>Focuses on defining high-level and necessary class attributes and functionalities while ignoring underlying code implementation</a:t>
              </a:r>
              <a:endParaRPr kumimoji="0" lang="en-US" sz="1200" b="0" i="0" u="none" strike="noStrike" kern="1200" cap="none" spc="0" normalizeH="0" baseline="0" noProof="0" dirty="0">
                <a:ln>
                  <a:noFill/>
                </a:ln>
                <a:solidFill>
                  <a:schemeClr val="accent4">
                    <a:lumMod val="90000"/>
                  </a:schemeClr>
                </a:solidFill>
                <a:effectLst/>
                <a:uLnTx/>
                <a:uFillTx/>
                <a:latin typeface="Aa楷体" panose="02000500000000000000" pitchFamily="2" charset="-122"/>
                <a:ea typeface="+mn-ea"/>
                <a:cs typeface="+mn-cs"/>
                <a:sym typeface="YRDZST"/>
              </a:endParaRPr>
            </a:p>
          </p:txBody>
        </p:sp>
        <p:sp>
          <p:nvSpPr>
            <p:cNvPr id="4" name="TextBox 65">
              <a:extLst>
                <a:ext uri="{FF2B5EF4-FFF2-40B4-BE49-F238E27FC236}">
                  <a16:creationId xmlns:a16="http://schemas.microsoft.com/office/drawing/2014/main" id="{050A3E22-52CB-0426-77EF-857E0E3127C3}"/>
                </a:ext>
              </a:extLst>
            </p:cNvPr>
            <p:cNvSpPr txBox="1">
              <a:spLocks noChangeArrowheads="1"/>
            </p:cNvSpPr>
            <p:nvPr/>
          </p:nvSpPr>
          <p:spPr bwMode="auto">
            <a:xfrm>
              <a:off x="626934" y="4569896"/>
              <a:ext cx="2060082" cy="399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zh-CN" sz="2000" b="1" i="0" u="none" strike="noStrike" kern="1200" cap="none" spc="0" normalizeH="0" baseline="0" noProof="0" dirty="0">
                  <a:ln>
                    <a:noFill/>
                  </a:ln>
                  <a:solidFill>
                    <a:schemeClr val="accent4">
                      <a:lumMod val="25000"/>
                    </a:schemeClr>
                  </a:solidFill>
                  <a:effectLst/>
                  <a:uLnTx/>
                  <a:uFillTx/>
                  <a:latin typeface="Aa楷体" panose="02000500000000000000" pitchFamily="2" charset="-122"/>
                  <a:ea typeface="Aa楷体" panose="02000500000000000000" pitchFamily="2" charset="-122"/>
                  <a:cs typeface="+mn-cs"/>
                  <a:sym typeface="YRDZST"/>
                </a:rPr>
                <a:t>Abstraction</a:t>
              </a:r>
              <a:endParaRPr kumimoji="0" lang="en-US" altLang="zh-CN" sz="1600" b="1" i="0" u="none" strike="noStrike" kern="1200" cap="none" spc="0" normalizeH="0" baseline="0" noProof="0" dirty="0">
                <a:ln>
                  <a:noFill/>
                </a:ln>
                <a:solidFill>
                  <a:schemeClr val="accent4">
                    <a:lumMod val="25000"/>
                  </a:schemeClr>
                </a:solidFill>
                <a:effectLst/>
                <a:uLnTx/>
                <a:uFillTx/>
                <a:latin typeface="Aa楷体" panose="02000500000000000000" pitchFamily="2" charset="-122"/>
                <a:ea typeface="Aa楷体" panose="02000500000000000000" pitchFamily="2" charset="-122"/>
                <a:cs typeface="+mn-cs"/>
                <a:sym typeface="YRDZST"/>
              </a:endParaRPr>
            </a:p>
          </p:txBody>
        </p:sp>
      </p:grpSp>
      <p:grpSp>
        <p:nvGrpSpPr>
          <p:cNvPr id="6" name="Group 63">
            <a:extLst>
              <a:ext uri="{FF2B5EF4-FFF2-40B4-BE49-F238E27FC236}">
                <a16:creationId xmlns:a16="http://schemas.microsoft.com/office/drawing/2014/main" id="{D4CD625E-4A0F-FF31-00FB-236E3E151B3D}"/>
              </a:ext>
            </a:extLst>
          </p:cNvPr>
          <p:cNvGrpSpPr>
            <a:grpSpLocks/>
          </p:cNvGrpSpPr>
          <p:nvPr/>
        </p:nvGrpSpPr>
        <p:grpSpPr bwMode="auto">
          <a:xfrm>
            <a:off x="9021859" y="4473185"/>
            <a:ext cx="2428875" cy="1525254"/>
            <a:chOff x="488660" y="4548261"/>
            <a:chExt cx="2428294" cy="1524929"/>
          </a:xfrm>
        </p:grpSpPr>
        <p:sp>
          <p:nvSpPr>
            <p:cNvPr id="8" name="TextBox 64">
              <a:extLst>
                <a:ext uri="{FF2B5EF4-FFF2-40B4-BE49-F238E27FC236}">
                  <a16:creationId xmlns:a16="http://schemas.microsoft.com/office/drawing/2014/main" id="{C850F95E-E8A7-EF66-534E-3297E3CE260A}"/>
                </a:ext>
              </a:extLst>
            </p:cNvPr>
            <p:cNvSpPr txBox="1"/>
            <p:nvPr/>
          </p:nvSpPr>
          <p:spPr>
            <a:xfrm>
              <a:off x="488660" y="4873117"/>
              <a:ext cx="2428294" cy="1200073"/>
            </a:xfrm>
            <a:prstGeom prst="rect">
              <a:avLst/>
            </a:prstGeom>
            <a:noFill/>
          </p:spPr>
          <p:txBody>
            <a:bodyP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200" dirty="0">
                  <a:solidFill>
                    <a:schemeClr val="accent4">
                      <a:lumMod val="90000"/>
                    </a:schemeClr>
                  </a:solidFill>
                  <a:latin typeface="Aa楷体" panose="02000500000000000000" pitchFamily="2" charset="-122"/>
                  <a:sym typeface="YRDZST"/>
                </a:rPr>
                <a:t>Behavior variances on various object states, which means that the same interface can be extended to different implementations in programming</a:t>
              </a:r>
              <a:endParaRPr kumimoji="0" lang="en-US" sz="1200" b="0" i="0" u="none" strike="noStrike" kern="1200" cap="none" spc="0" normalizeH="0" baseline="0" noProof="0" dirty="0">
                <a:ln>
                  <a:noFill/>
                </a:ln>
                <a:solidFill>
                  <a:schemeClr val="accent4">
                    <a:lumMod val="90000"/>
                  </a:schemeClr>
                </a:solidFill>
                <a:effectLst/>
                <a:uLnTx/>
                <a:uFillTx/>
                <a:latin typeface="Aa楷体" panose="02000500000000000000" pitchFamily="2" charset="-122"/>
                <a:ea typeface="+mn-ea"/>
                <a:cs typeface="+mn-cs"/>
                <a:sym typeface="YRDZST"/>
              </a:endParaRPr>
            </a:p>
          </p:txBody>
        </p:sp>
        <p:sp>
          <p:nvSpPr>
            <p:cNvPr id="9" name="TextBox 65">
              <a:extLst>
                <a:ext uri="{FF2B5EF4-FFF2-40B4-BE49-F238E27FC236}">
                  <a16:creationId xmlns:a16="http://schemas.microsoft.com/office/drawing/2014/main" id="{9F9BE903-A7F6-F424-0BE8-3246B8B2F1E5}"/>
                </a:ext>
              </a:extLst>
            </p:cNvPr>
            <p:cNvSpPr txBox="1">
              <a:spLocks noChangeArrowheads="1"/>
            </p:cNvSpPr>
            <p:nvPr/>
          </p:nvSpPr>
          <p:spPr bwMode="auto">
            <a:xfrm>
              <a:off x="614529" y="4548261"/>
              <a:ext cx="2060082" cy="399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zh-CN" sz="2000" b="1" i="0" u="none" strike="noStrike" kern="1200" cap="none" spc="0" normalizeH="0" baseline="0" noProof="0" dirty="0">
                  <a:ln>
                    <a:noFill/>
                  </a:ln>
                  <a:solidFill>
                    <a:schemeClr val="accent4">
                      <a:lumMod val="25000"/>
                    </a:schemeClr>
                  </a:solidFill>
                  <a:effectLst/>
                  <a:uLnTx/>
                  <a:uFillTx/>
                  <a:latin typeface="Aa楷体" panose="02000500000000000000" pitchFamily="2" charset="-122"/>
                  <a:ea typeface="Aa楷体" panose="02000500000000000000" pitchFamily="2" charset="-122"/>
                  <a:cs typeface="+mn-cs"/>
                  <a:sym typeface="YRDZST"/>
                </a:rPr>
                <a:t>Polymorphism</a:t>
              </a:r>
              <a:endParaRPr kumimoji="0" lang="en-US" altLang="zh-CN" sz="1600" b="1" i="0" u="none" strike="noStrike" kern="1200" cap="none" spc="0" normalizeH="0" baseline="0" noProof="0" dirty="0">
                <a:ln>
                  <a:noFill/>
                </a:ln>
                <a:solidFill>
                  <a:schemeClr val="accent4">
                    <a:lumMod val="25000"/>
                  </a:schemeClr>
                </a:solidFill>
                <a:effectLst/>
                <a:uLnTx/>
                <a:uFillTx/>
                <a:latin typeface="Aa楷体" panose="02000500000000000000" pitchFamily="2" charset="-122"/>
                <a:ea typeface="Aa楷体" panose="02000500000000000000" pitchFamily="2" charset="-122"/>
                <a:cs typeface="+mn-cs"/>
                <a:sym typeface="YRDZST"/>
              </a:endParaRPr>
            </a:p>
          </p:txBody>
        </p:sp>
      </p:grpSp>
      <p:grpSp>
        <p:nvGrpSpPr>
          <p:cNvPr id="66" name="Group 63">
            <a:extLst>
              <a:ext uri="{FF2B5EF4-FFF2-40B4-BE49-F238E27FC236}">
                <a16:creationId xmlns:a16="http://schemas.microsoft.com/office/drawing/2014/main" id="{E08E1060-B69A-A430-512F-E54199B359FC}"/>
              </a:ext>
            </a:extLst>
          </p:cNvPr>
          <p:cNvGrpSpPr>
            <a:grpSpLocks/>
          </p:cNvGrpSpPr>
          <p:nvPr/>
        </p:nvGrpSpPr>
        <p:grpSpPr bwMode="auto">
          <a:xfrm>
            <a:off x="9021858" y="2663626"/>
            <a:ext cx="2428875" cy="1144890"/>
            <a:chOff x="488660" y="4559290"/>
            <a:chExt cx="2428294" cy="1144647"/>
          </a:xfrm>
        </p:grpSpPr>
        <p:sp>
          <p:nvSpPr>
            <p:cNvPr id="69" name="TextBox 64">
              <a:extLst>
                <a:ext uri="{FF2B5EF4-FFF2-40B4-BE49-F238E27FC236}">
                  <a16:creationId xmlns:a16="http://schemas.microsoft.com/office/drawing/2014/main" id="{C8D1D23A-E874-BDC6-8D34-E4CF59AD1086}"/>
                </a:ext>
              </a:extLst>
            </p:cNvPr>
            <p:cNvSpPr txBox="1"/>
            <p:nvPr/>
          </p:nvSpPr>
          <p:spPr>
            <a:xfrm>
              <a:off x="488660" y="4873117"/>
              <a:ext cx="2428294" cy="830820"/>
            </a:xfrm>
            <a:prstGeom prst="rect">
              <a:avLst/>
            </a:prstGeom>
            <a:noFill/>
          </p:spPr>
          <p:txBody>
            <a:bodyP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200" dirty="0">
                  <a:solidFill>
                    <a:schemeClr val="accent4">
                      <a:lumMod val="90000"/>
                    </a:schemeClr>
                  </a:solidFill>
                  <a:latin typeface="Aa楷体" panose="02000500000000000000" pitchFamily="2" charset="-122"/>
                  <a:sym typeface="YRDZST"/>
                </a:rPr>
                <a:t>Allows a class (subclass or derived class) to inherit and modify the fields and methods form another class</a:t>
              </a:r>
              <a:endParaRPr kumimoji="0" lang="en-US" sz="1200" b="0" i="0" u="none" strike="noStrike" kern="1200" cap="none" spc="0" normalizeH="0" baseline="0" noProof="0" dirty="0">
                <a:ln>
                  <a:noFill/>
                </a:ln>
                <a:solidFill>
                  <a:schemeClr val="accent4">
                    <a:lumMod val="90000"/>
                  </a:schemeClr>
                </a:solidFill>
                <a:effectLst/>
                <a:uLnTx/>
                <a:uFillTx/>
                <a:latin typeface="Aa楷体" panose="02000500000000000000" pitchFamily="2" charset="-122"/>
                <a:ea typeface="+mn-ea"/>
                <a:cs typeface="+mn-cs"/>
                <a:sym typeface="YRDZST"/>
              </a:endParaRPr>
            </a:p>
          </p:txBody>
        </p:sp>
        <p:sp>
          <p:nvSpPr>
            <p:cNvPr id="75" name="TextBox 65">
              <a:extLst>
                <a:ext uri="{FF2B5EF4-FFF2-40B4-BE49-F238E27FC236}">
                  <a16:creationId xmlns:a16="http://schemas.microsoft.com/office/drawing/2014/main" id="{5C112CD2-7942-6205-B4AD-1564B736E849}"/>
                </a:ext>
              </a:extLst>
            </p:cNvPr>
            <p:cNvSpPr txBox="1">
              <a:spLocks noChangeArrowheads="1"/>
            </p:cNvSpPr>
            <p:nvPr/>
          </p:nvSpPr>
          <p:spPr bwMode="auto">
            <a:xfrm>
              <a:off x="520306" y="4559290"/>
              <a:ext cx="2060082" cy="399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zh-CN" sz="2000" b="1" i="0" u="none" strike="noStrike" kern="1200" cap="none" spc="0" normalizeH="0" baseline="0" noProof="0" dirty="0">
                  <a:ln>
                    <a:noFill/>
                  </a:ln>
                  <a:solidFill>
                    <a:schemeClr val="accent4">
                      <a:lumMod val="25000"/>
                    </a:schemeClr>
                  </a:solidFill>
                  <a:effectLst/>
                  <a:uLnTx/>
                  <a:uFillTx/>
                  <a:latin typeface="Aa楷体" panose="02000500000000000000" pitchFamily="2" charset="-122"/>
                  <a:ea typeface="Aa楷体" panose="02000500000000000000" pitchFamily="2" charset="-122"/>
                  <a:cs typeface="+mn-cs"/>
                  <a:sym typeface="YRDZST"/>
                </a:rPr>
                <a:t>Inheritance</a:t>
              </a:r>
              <a:endParaRPr kumimoji="0" lang="en-US" altLang="zh-CN" sz="1600" b="1" i="0" u="none" strike="noStrike" kern="1200" cap="none" spc="0" normalizeH="0" baseline="0" noProof="0" dirty="0">
                <a:ln>
                  <a:noFill/>
                </a:ln>
                <a:solidFill>
                  <a:schemeClr val="accent4">
                    <a:lumMod val="25000"/>
                  </a:schemeClr>
                </a:solidFill>
                <a:effectLst/>
                <a:uLnTx/>
                <a:uFillTx/>
                <a:latin typeface="Aa楷体" panose="02000500000000000000" pitchFamily="2" charset="-122"/>
                <a:ea typeface="Aa楷体" panose="02000500000000000000" pitchFamily="2" charset="-122"/>
                <a:cs typeface="+mn-cs"/>
                <a:sym typeface="YRDZST"/>
              </a:endParaRPr>
            </a:p>
          </p:txBody>
        </p:sp>
      </p:grpSp>
      <p:pic>
        <p:nvPicPr>
          <p:cNvPr id="77" name="图形 76" descr="锁定">
            <a:extLst>
              <a:ext uri="{FF2B5EF4-FFF2-40B4-BE49-F238E27FC236}">
                <a16:creationId xmlns:a16="http://schemas.microsoft.com/office/drawing/2014/main" id="{FBAD0CDE-2F22-F09A-8AFF-F25F8EA13E0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076653" y="2406451"/>
            <a:ext cx="914400" cy="914400"/>
          </a:xfrm>
          <a:prstGeom prst="rect">
            <a:avLst/>
          </a:prstGeom>
        </p:spPr>
      </p:pic>
      <p:pic>
        <p:nvPicPr>
          <p:cNvPr id="79" name="图形 78" descr="自行车与人">
            <a:extLst>
              <a:ext uri="{FF2B5EF4-FFF2-40B4-BE49-F238E27FC236}">
                <a16:creationId xmlns:a16="http://schemas.microsoft.com/office/drawing/2014/main" id="{B8F9B58B-3DBC-44FC-2463-0896D5F85F4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139112" y="2424115"/>
            <a:ext cx="914400" cy="914400"/>
          </a:xfrm>
          <a:prstGeom prst="rect">
            <a:avLst/>
          </a:prstGeom>
        </p:spPr>
      </p:pic>
      <p:pic>
        <p:nvPicPr>
          <p:cNvPr id="81" name="图形 80" descr="断开">
            <a:extLst>
              <a:ext uri="{FF2B5EF4-FFF2-40B4-BE49-F238E27FC236}">
                <a16:creationId xmlns:a16="http://schemas.microsoft.com/office/drawing/2014/main" id="{D4A9D830-465E-70CD-CE93-2EEEC647F58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158162" y="4198938"/>
            <a:ext cx="914400" cy="914400"/>
          </a:xfrm>
          <a:prstGeom prst="rect">
            <a:avLst/>
          </a:prstGeom>
        </p:spPr>
      </p:pic>
      <p:pic>
        <p:nvPicPr>
          <p:cNvPr id="83" name="图形 82" descr="打开文件夹">
            <a:extLst>
              <a:ext uri="{FF2B5EF4-FFF2-40B4-BE49-F238E27FC236}">
                <a16:creationId xmlns:a16="http://schemas.microsoft.com/office/drawing/2014/main" id="{2EA95311-3B25-2617-990D-4AC20EA4125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135027" y="4198938"/>
            <a:ext cx="914400" cy="914400"/>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1500" advClick="0" advTm="1000">
        <p:random/>
      </p:transition>
    </mc:Choice>
    <mc:Fallback xmlns="">
      <p:transition spd="slow" advClick="0" advTm="1000">
        <p:random/>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1"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heel(1)">
                                      <p:cBhvr>
                                        <p:cTn id="7" dur="2000"/>
                                        <p:tgtEl>
                                          <p:spTgt spid="5"/>
                                        </p:tgtEl>
                                      </p:cBhvr>
                                    </p:animEffect>
                                  </p:childTnLst>
                                </p:cTn>
                              </p:par>
                            </p:childTnLst>
                          </p:cTn>
                        </p:par>
                        <p:par>
                          <p:cTn id="8" fill="hold" nodeType="afterGroup">
                            <p:stCondLst>
                              <p:cond delay="2000"/>
                            </p:stCondLst>
                            <p:childTnLst>
                              <p:par>
                                <p:cTn id="9" presetID="47" presetClass="entr" presetSubtype="0" fill="hold" grpId="0"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anim calcmode="lin" valueType="num">
                                      <p:cBhvr>
                                        <p:cTn id="12" dur="500" fill="hold"/>
                                        <p:tgtEl>
                                          <p:spTgt spid="41"/>
                                        </p:tgtEl>
                                        <p:attrNameLst>
                                          <p:attrName>ppt_x</p:attrName>
                                        </p:attrNameLst>
                                      </p:cBhvr>
                                      <p:tavLst>
                                        <p:tav tm="0">
                                          <p:val>
                                            <p:strVal val="#ppt_x"/>
                                          </p:val>
                                        </p:tav>
                                        <p:tav tm="100000">
                                          <p:val>
                                            <p:strVal val="#ppt_x"/>
                                          </p:val>
                                        </p:tav>
                                      </p:tavLst>
                                    </p:anim>
                                    <p:anim calcmode="lin" valueType="num">
                                      <p:cBhvr>
                                        <p:cTn id="13" dur="500" fill="hold"/>
                                        <p:tgtEl>
                                          <p:spTgt spid="41"/>
                                        </p:tgtEl>
                                        <p:attrNameLst>
                                          <p:attrName>ppt_y</p:attrName>
                                        </p:attrNameLst>
                                      </p:cBhvr>
                                      <p:tavLst>
                                        <p:tav tm="0">
                                          <p:val>
                                            <p:strVal val="#ppt_y-.1"/>
                                          </p:val>
                                        </p:tav>
                                        <p:tav tm="100000">
                                          <p:val>
                                            <p:strVal val="#ppt_y"/>
                                          </p:val>
                                        </p:tav>
                                      </p:tavLst>
                                    </p:anim>
                                  </p:childTnLst>
                                </p:cTn>
                              </p:par>
                            </p:childTnLst>
                          </p:cTn>
                        </p:par>
                        <p:par>
                          <p:cTn id="14" fill="hold" nodeType="afterGroup">
                            <p:stCondLst>
                              <p:cond delay="2500"/>
                            </p:stCondLst>
                            <p:childTnLst>
                              <p:par>
                                <p:cTn id="15" presetID="47" presetClass="entr" presetSubtype="0" fill="hold" grpId="0" nodeType="afterEffect">
                                  <p:stCondLst>
                                    <p:cond delay="0"/>
                                  </p:stCondLst>
                                  <p:childTnLst>
                                    <p:set>
                                      <p:cBhvr>
                                        <p:cTn id="16" dur="1" fill="hold">
                                          <p:stCondLst>
                                            <p:cond delay="0"/>
                                          </p:stCondLst>
                                        </p:cTn>
                                        <p:tgtEl>
                                          <p:spTgt spid="42"/>
                                        </p:tgtEl>
                                        <p:attrNameLst>
                                          <p:attrName>style.visibility</p:attrName>
                                        </p:attrNameLst>
                                      </p:cBhvr>
                                      <p:to>
                                        <p:strVal val="visible"/>
                                      </p:to>
                                    </p:set>
                                    <p:animEffect transition="in" filter="fade">
                                      <p:cBhvr>
                                        <p:cTn id="17" dur="500"/>
                                        <p:tgtEl>
                                          <p:spTgt spid="42"/>
                                        </p:tgtEl>
                                      </p:cBhvr>
                                    </p:animEffect>
                                    <p:anim calcmode="lin" valueType="num">
                                      <p:cBhvr>
                                        <p:cTn id="18" dur="500" fill="hold"/>
                                        <p:tgtEl>
                                          <p:spTgt spid="42"/>
                                        </p:tgtEl>
                                        <p:attrNameLst>
                                          <p:attrName>ppt_x</p:attrName>
                                        </p:attrNameLst>
                                      </p:cBhvr>
                                      <p:tavLst>
                                        <p:tav tm="0">
                                          <p:val>
                                            <p:strVal val="#ppt_x"/>
                                          </p:val>
                                        </p:tav>
                                        <p:tav tm="100000">
                                          <p:val>
                                            <p:strVal val="#ppt_x"/>
                                          </p:val>
                                        </p:tav>
                                      </p:tavLst>
                                    </p:anim>
                                    <p:anim calcmode="lin" valueType="num">
                                      <p:cBhvr>
                                        <p:cTn id="19" dur="500" fill="hold"/>
                                        <p:tgtEl>
                                          <p:spTgt spid="42"/>
                                        </p:tgtEl>
                                        <p:attrNameLst>
                                          <p:attrName>ppt_y</p:attrName>
                                        </p:attrNameLst>
                                      </p:cBhvr>
                                      <p:tavLst>
                                        <p:tav tm="0">
                                          <p:val>
                                            <p:strVal val="#ppt_y-.1"/>
                                          </p:val>
                                        </p:tav>
                                        <p:tav tm="100000">
                                          <p:val>
                                            <p:strVal val="#ppt_y"/>
                                          </p:val>
                                        </p:tav>
                                      </p:tavLst>
                                    </p:anim>
                                  </p:childTnLst>
                                </p:cTn>
                              </p:par>
                            </p:childTnLst>
                          </p:cTn>
                        </p:par>
                        <p:par>
                          <p:cTn id="20" fill="hold" nodeType="afterGroup">
                            <p:stCondLst>
                              <p:cond delay="3000"/>
                            </p:stCondLst>
                            <p:childTnLst>
                              <p:par>
                                <p:cTn id="21" presetID="47" presetClass="entr" presetSubtype="0" fill="hold" grpId="0" nodeType="afterEffect">
                                  <p:stCondLst>
                                    <p:cond delay="0"/>
                                  </p:stCondLst>
                                  <p:childTnLst>
                                    <p:set>
                                      <p:cBhvr>
                                        <p:cTn id="22" dur="1" fill="hold">
                                          <p:stCondLst>
                                            <p:cond delay="0"/>
                                          </p:stCondLst>
                                        </p:cTn>
                                        <p:tgtEl>
                                          <p:spTgt spid="43"/>
                                        </p:tgtEl>
                                        <p:attrNameLst>
                                          <p:attrName>style.visibility</p:attrName>
                                        </p:attrNameLst>
                                      </p:cBhvr>
                                      <p:to>
                                        <p:strVal val="visible"/>
                                      </p:to>
                                    </p:set>
                                    <p:animEffect transition="in" filter="fade">
                                      <p:cBhvr>
                                        <p:cTn id="23" dur="500"/>
                                        <p:tgtEl>
                                          <p:spTgt spid="43"/>
                                        </p:tgtEl>
                                      </p:cBhvr>
                                    </p:animEffect>
                                    <p:anim calcmode="lin" valueType="num">
                                      <p:cBhvr>
                                        <p:cTn id="24" dur="500" fill="hold"/>
                                        <p:tgtEl>
                                          <p:spTgt spid="43"/>
                                        </p:tgtEl>
                                        <p:attrNameLst>
                                          <p:attrName>ppt_x</p:attrName>
                                        </p:attrNameLst>
                                      </p:cBhvr>
                                      <p:tavLst>
                                        <p:tav tm="0">
                                          <p:val>
                                            <p:strVal val="#ppt_x"/>
                                          </p:val>
                                        </p:tav>
                                        <p:tav tm="100000">
                                          <p:val>
                                            <p:strVal val="#ppt_x"/>
                                          </p:val>
                                        </p:tav>
                                      </p:tavLst>
                                    </p:anim>
                                    <p:anim calcmode="lin" valueType="num">
                                      <p:cBhvr>
                                        <p:cTn id="25" dur="500" fill="hold"/>
                                        <p:tgtEl>
                                          <p:spTgt spid="43"/>
                                        </p:tgtEl>
                                        <p:attrNameLst>
                                          <p:attrName>ppt_y</p:attrName>
                                        </p:attrNameLst>
                                      </p:cBhvr>
                                      <p:tavLst>
                                        <p:tav tm="0">
                                          <p:val>
                                            <p:strVal val="#ppt_y-.1"/>
                                          </p:val>
                                        </p:tav>
                                        <p:tav tm="100000">
                                          <p:val>
                                            <p:strVal val="#ppt_y"/>
                                          </p:val>
                                        </p:tav>
                                      </p:tavLst>
                                    </p:anim>
                                  </p:childTnLst>
                                </p:cTn>
                              </p:par>
                            </p:childTnLst>
                          </p:cTn>
                        </p:par>
                        <p:par>
                          <p:cTn id="26" fill="hold" nodeType="afterGroup">
                            <p:stCondLst>
                              <p:cond delay="3500"/>
                            </p:stCondLst>
                            <p:childTnLst>
                              <p:par>
                                <p:cTn id="27" presetID="47" presetClass="entr" presetSubtype="0" fill="hold" grpId="0" nodeType="afterEffect">
                                  <p:stCondLst>
                                    <p:cond delay="0"/>
                                  </p:stCondLst>
                                  <p:childTnLst>
                                    <p:set>
                                      <p:cBhvr>
                                        <p:cTn id="28" dur="1" fill="hold">
                                          <p:stCondLst>
                                            <p:cond delay="0"/>
                                          </p:stCondLst>
                                        </p:cTn>
                                        <p:tgtEl>
                                          <p:spTgt spid="44"/>
                                        </p:tgtEl>
                                        <p:attrNameLst>
                                          <p:attrName>style.visibility</p:attrName>
                                        </p:attrNameLst>
                                      </p:cBhvr>
                                      <p:to>
                                        <p:strVal val="visible"/>
                                      </p:to>
                                    </p:set>
                                    <p:animEffect transition="in" filter="fade">
                                      <p:cBhvr>
                                        <p:cTn id="29" dur="500"/>
                                        <p:tgtEl>
                                          <p:spTgt spid="44"/>
                                        </p:tgtEl>
                                      </p:cBhvr>
                                    </p:animEffect>
                                    <p:anim calcmode="lin" valueType="num">
                                      <p:cBhvr>
                                        <p:cTn id="30" dur="500" fill="hold"/>
                                        <p:tgtEl>
                                          <p:spTgt spid="44"/>
                                        </p:tgtEl>
                                        <p:attrNameLst>
                                          <p:attrName>ppt_x</p:attrName>
                                        </p:attrNameLst>
                                      </p:cBhvr>
                                      <p:tavLst>
                                        <p:tav tm="0">
                                          <p:val>
                                            <p:strVal val="#ppt_x"/>
                                          </p:val>
                                        </p:tav>
                                        <p:tav tm="100000">
                                          <p:val>
                                            <p:strVal val="#ppt_x"/>
                                          </p:val>
                                        </p:tav>
                                      </p:tavLst>
                                    </p:anim>
                                    <p:anim calcmode="lin" valueType="num">
                                      <p:cBhvr>
                                        <p:cTn id="31" dur="500" fill="hold"/>
                                        <p:tgtEl>
                                          <p:spTgt spid="44"/>
                                        </p:tgtEl>
                                        <p:attrNameLst>
                                          <p:attrName>ppt_y</p:attrName>
                                        </p:attrNameLst>
                                      </p:cBhvr>
                                      <p:tavLst>
                                        <p:tav tm="0">
                                          <p:val>
                                            <p:strVal val="#ppt_y-.1"/>
                                          </p:val>
                                        </p:tav>
                                        <p:tav tm="100000">
                                          <p:val>
                                            <p:strVal val="#ppt_y"/>
                                          </p:val>
                                        </p:tav>
                                      </p:tavLst>
                                    </p:anim>
                                  </p:childTnLst>
                                </p:cTn>
                              </p:par>
                              <p:par>
                                <p:cTn id="32" presetID="10" presetClass="entr" presetSubtype="0" fill="hold" nodeType="withEffect">
                                  <p:stCondLst>
                                    <p:cond delay="0"/>
                                  </p:stCondLst>
                                  <p:childTnLst>
                                    <p:set>
                                      <p:cBhvr>
                                        <p:cTn id="33" dur="1" fill="hold">
                                          <p:stCondLst>
                                            <p:cond delay="0"/>
                                          </p:stCondLst>
                                        </p:cTn>
                                        <p:tgtEl>
                                          <p:spTgt spid="64"/>
                                        </p:tgtEl>
                                        <p:attrNameLst>
                                          <p:attrName>style.visibility</p:attrName>
                                        </p:attrNameLst>
                                      </p:cBhvr>
                                      <p:to>
                                        <p:strVal val="visible"/>
                                      </p:to>
                                    </p:set>
                                    <p:animEffect transition="in" filter="fade">
                                      <p:cBhvr>
                                        <p:cTn id="34" dur="500"/>
                                        <p:tgtEl>
                                          <p:spTgt spid="64"/>
                                        </p:tgtEl>
                                      </p:cBhvr>
                                    </p:animEffect>
                                  </p:childTnLst>
                                </p:cTn>
                              </p:par>
                              <p:par>
                                <p:cTn id="35" presetID="10" presetClass="entr" presetSubtype="0" fill="hold" nodeType="withEffect">
                                  <p:stCondLst>
                                    <p:cond delay="0"/>
                                  </p:stCondLst>
                                  <p:childTnLst>
                                    <p:set>
                                      <p:cBhvr>
                                        <p:cTn id="36" dur="1" fill="hold">
                                          <p:stCondLst>
                                            <p:cond delay="0"/>
                                          </p:stCondLst>
                                        </p:cTn>
                                        <p:tgtEl>
                                          <p:spTgt spid="2"/>
                                        </p:tgtEl>
                                        <p:attrNameLst>
                                          <p:attrName>style.visibility</p:attrName>
                                        </p:attrNameLst>
                                      </p:cBhvr>
                                      <p:to>
                                        <p:strVal val="visible"/>
                                      </p:to>
                                    </p:set>
                                    <p:animEffect transition="in" filter="fade">
                                      <p:cBhvr>
                                        <p:cTn id="37" dur="500"/>
                                        <p:tgtEl>
                                          <p:spTgt spid="2"/>
                                        </p:tgtEl>
                                      </p:cBhvr>
                                    </p:animEffect>
                                  </p:childTnLst>
                                </p:cTn>
                              </p:par>
                              <p:par>
                                <p:cTn id="38" presetID="10" presetClass="entr" presetSubtype="0" fill="hold" nodeType="withEffect">
                                  <p:stCondLst>
                                    <p:cond delay="0"/>
                                  </p:stCondLst>
                                  <p:childTnLst>
                                    <p:set>
                                      <p:cBhvr>
                                        <p:cTn id="39" dur="1" fill="hold">
                                          <p:stCondLst>
                                            <p:cond delay="0"/>
                                          </p:stCondLst>
                                        </p:cTn>
                                        <p:tgtEl>
                                          <p:spTgt spid="6"/>
                                        </p:tgtEl>
                                        <p:attrNameLst>
                                          <p:attrName>style.visibility</p:attrName>
                                        </p:attrNameLst>
                                      </p:cBhvr>
                                      <p:to>
                                        <p:strVal val="visible"/>
                                      </p:to>
                                    </p:set>
                                    <p:animEffect transition="in" filter="fade">
                                      <p:cBhvr>
                                        <p:cTn id="40" dur="500"/>
                                        <p:tgtEl>
                                          <p:spTgt spid="6"/>
                                        </p:tgtEl>
                                      </p:cBhvr>
                                    </p:animEffect>
                                  </p:childTnLst>
                                </p:cTn>
                              </p:par>
                              <p:par>
                                <p:cTn id="41" presetID="10" presetClass="entr" presetSubtype="0" fill="hold" nodeType="withEffect">
                                  <p:stCondLst>
                                    <p:cond delay="0"/>
                                  </p:stCondLst>
                                  <p:childTnLst>
                                    <p:set>
                                      <p:cBhvr>
                                        <p:cTn id="42" dur="1" fill="hold">
                                          <p:stCondLst>
                                            <p:cond delay="0"/>
                                          </p:stCondLst>
                                        </p:cTn>
                                        <p:tgtEl>
                                          <p:spTgt spid="66"/>
                                        </p:tgtEl>
                                        <p:attrNameLst>
                                          <p:attrName>style.visibility</p:attrName>
                                        </p:attrNameLst>
                                      </p:cBhvr>
                                      <p:to>
                                        <p:strVal val="visible"/>
                                      </p:to>
                                    </p:set>
                                    <p:animEffect transition="in" filter="fade">
                                      <p:cBhvr>
                                        <p:cTn id="43" dur="50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2" grpId="0"/>
      <p:bldP spid="43" grpId="0"/>
      <p:bldP spid="44"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BA90E37-5BDB-48C6-BE15-63F260A2FC60}"/>
              </a:ext>
            </a:extLst>
          </p:cNvPr>
          <p:cNvGrpSpPr>
            <a:grpSpLocks/>
          </p:cNvGrpSpPr>
          <p:nvPr/>
        </p:nvGrpSpPr>
        <p:grpSpPr bwMode="auto">
          <a:xfrm>
            <a:off x="267895" y="617704"/>
            <a:ext cx="5447698" cy="2598243"/>
            <a:chOff x="1427208" y="1591682"/>
            <a:chExt cx="9085029" cy="2838008"/>
          </a:xfrm>
        </p:grpSpPr>
        <p:graphicFrame>
          <p:nvGraphicFramePr>
            <p:cNvPr id="11" name="Diagram 10">
              <a:extLst>
                <a:ext uri="{FF2B5EF4-FFF2-40B4-BE49-F238E27FC236}">
                  <a16:creationId xmlns:a16="http://schemas.microsoft.com/office/drawing/2014/main" id="{1E8342F6-61AB-469E-A648-0AC0FA79D891}"/>
                </a:ext>
              </a:extLst>
            </p:cNvPr>
            <p:cNvGraphicFramePr/>
            <p:nvPr>
              <p:extLst>
                <p:ext uri="{D42A27DB-BD31-4B8C-83A1-F6EECF244321}">
                  <p14:modId xmlns:p14="http://schemas.microsoft.com/office/powerpoint/2010/main" val="36211975"/>
                </p:ext>
              </p:extLst>
            </p:nvPr>
          </p:nvGraphicFramePr>
          <p:xfrm>
            <a:off x="1427208" y="1591682"/>
            <a:ext cx="9085029" cy="283800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8" name="Rectangle 9">
              <a:extLst>
                <a:ext uri="{FF2B5EF4-FFF2-40B4-BE49-F238E27FC236}">
                  <a16:creationId xmlns:a16="http://schemas.microsoft.com/office/drawing/2014/main" id="{5F1C6C51-BFF7-4790-921C-33973909DE01}"/>
                </a:ext>
              </a:extLst>
            </p:cNvPr>
            <p:cNvSpPr>
              <a:spLocks noChangeArrowheads="1"/>
            </p:cNvSpPr>
            <p:nvPr/>
          </p:nvSpPr>
          <p:spPr bwMode="auto">
            <a:xfrm>
              <a:off x="3859819" y="2910503"/>
              <a:ext cx="1464" cy="171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a楷体" panose="02000500000000000000" pitchFamily="2" charset="-122"/>
                <a:ea typeface="+mn-ea"/>
                <a:cs typeface="+mn-cs"/>
                <a:sym typeface="YRDZST"/>
              </a:endParaRPr>
            </a:p>
          </p:txBody>
        </p:sp>
      </p:grpSp>
      <p:sp>
        <p:nvSpPr>
          <p:cNvPr id="33" name="文本框 32">
            <a:extLst>
              <a:ext uri="{FF2B5EF4-FFF2-40B4-BE49-F238E27FC236}">
                <a16:creationId xmlns:a16="http://schemas.microsoft.com/office/drawing/2014/main" id="{ED6B8105-3159-457E-9AD1-EB68C7CA2E34}"/>
              </a:ext>
            </a:extLst>
          </p:cNvPr>
          <p:cNvSpPr txBox="1"/>
          <p:nvPr/>
        </p:nvSpPr>
        <p:spPr>
          <a:xfrm>
            <a:off x="396554" y="338992"/>
            <a:ext cx="3458845" cy="461645"/>
          </a:xfrm>
          <a:prstGeom prst="rect">
            <a:avLst/>
          </a:prstGeom>
          <a:noFill/>
          <a:ln w="0">
            <a:noFill/>
          </a:ln>
        </p:spPr>
        <p:txBody>
          <a:bodyPr vert="horz" wrap="square" lIns="89535" tIns="46355" rIns="89535" bIns="46355" numCol="1" anchor="t">
            <a:spAutoFit/>
          </a:bodyPr>
          <a:lstStyle/>
          <a:p>
            <a:pPr marL="0" marR="0" lvl="0" indent="0" algn="l" defTabSz="508000" rtl="0" eaLnBrk="0" fontAlgn="auto" latinLnBrk="0" hangingPunct="1">
              <a:lnSpc>
                <a:spcPct val="100000"/>
              </a:lnSpc>
              <a:spcBef>
                <a:spcPts val="0"/>
              </a:spcBef>
              <a:spcAft>
                <a:spcPts val="0"/>
              </a:spcAft>
              <a:buClrTx/>
              <a:buSzTx/>
              <a:buFontTx/>
              <a:buNone/>
              <a:tabLst/>
              <a:defRPr/>
            </a:pPr>
            <a:r>
              <a:rPr kumimoji="0" lang="en-US" altLang="zh-CN" sz="24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YRDZST"/>
              </a:rPr>
              <a:t>OOP Principles</a:t>
            </a:r>
            <a:endParaRPr kumimoji="0" lang="ko-KR" altLang="en-US" sz="2400" b="1" i="0" u="none" strike="noStrike" kern="1200" cap="none" spc="0" normalizeH="0" baseline="0" noProof="0" dirty="0">
              <a:ln>
                <a:noFill/>
              </a:ln>
              <a:solidFill>
                <a:srgbClr val="F0F0F0">
                  <a:lumMod val="25000"/>
                </a:srgbClr>
              </a:solidFill>
              <a:effectLst/>
              <a:uLnTx/>
              <a:uFillTx/>
              <a:latin typeface="Calibri" panose="020F0502020204030204" pitchFamily="34" charset="0"/>
              <a:ea typeface="微软雅黑" panose="020B0503020204020204" charset="-122"/>
              <a:cs typeface="Calibri" panose="020F0502020204030204" pitchFamily="34" charset="0"/>
              <a:sym typeface="YRDZST"/>
            </a:endParaRPr>
          </a:p>
        </p:txBody>
      </p:sp>
      <p:pic>
        <p:nvPicPr>
          <p:cNvPr id="2" name="图片 1">
            <a:extLst>
              <a:ext uri="{FF2B5EF4-FFF2-40B4-BE49-F238E27FC236}">
                <a16:creationId xmlns:a16="http://schemas.microsoft.com/office/drawing/2014/main" id="{D4DF0A6B-33E6-AC96-B2EF-C7079963B112}"/>
              </a:ext>
            </a:extLst>
          </p:cNvPr>
          <p:cNvPicPr>
            <a:picLocks noChangeAspect="1"/>
          </p:cNvPicPr>
          <p:nvPr/>
        </p:nvPicPr>
        <p:blipFill>
          <a:blip r:embed="rId9"/>
          <a:srcRect l="989" t="828" r="769" b="1158"/>
          <a:stretch>
            <a:fillRect/>
          </a:stretch>
        </p:blipFill>
        <p:spPr>
          <a:xfrm>
            <a:off x="6061189" y="1578014"/>
            <a:ext cx="5872430" cy="4198063"/>
          </a:xfrm>
          <a:prstGeom prst="rect">
            <a:avLst/>
          </a:prstGeom>
          <a:ln>
            <a:noFill/>
          </a:ln>
        </p:spPr>
      </p:pic>
      <p:sp>
        <p:nvSpPr>
          <p:cNvPr id="4" name="文本框 3">
            <a:extLst>
              <a:ext uri="{FF2B5EF4-FFF2-40B4-BE49-F238E27FC236}">
                <a16:creationId xmlns:a16="http://schemas.microsoft.com/office/drawing/2014/main" id="{4B54667B-C69D-5F42-3B48-45295446A703}"/>
              </a:ext>
            </a:extLst>
          </p:cNvPr>
          <p:cNvSpPr txBox="1"/>
          <p:nvPr/>
        </p:nvSpPr>
        <p:spPr>
          <a:xfrm>
            <a:off x="267895" y="1916826"/>
            <a:ext cx="1191846" cy="4524315"/>
          </a:xfrm>
          <a:prstGeom prst="rect">
            <a:avLst/>
          </a:prstGeom>
          <a:noFill/>
        </p:spPr>
        <p:txBody>
          <a:bodyPr wrap="square" rtlCol="0">
            <a:spAutoFit/>
          </a:bodyPr>
          <a:lstStyle/>
          <a:p>
            <a:r>
              <a:rPr lang="en-US" altLang="zh-CN" sz="1200" b="1" kern="100" dirty="0">
                <a:effectLst/>
                <a:latin typeface="Calibri" panose="020F0502020204030204" pitchFamily="34" charset="0"/>
                <a:ea typeface="等线" panose="02010600030101010101" pitchFamily="2" charset="-122"/>
                <a:cs typeface="Calibri" panose="020F0502020204030204" pitchFamily="34" charset="0"/>
              </a:rPr>
              <a:t>Encapsulation</a:t>
            </a:r>
            <a:r>
              <a:rPr lang="en-US" altLang="zh-CN" sz="1200" kern="100" dirty="0">
                <a:effectLst/>
                <a:latin typeface="Calibri" panose="020F0502020204030204" pitchFamily="34" charset="0"/>
                <a:ea typeface="等线" panose="02010600030101010101" pitchFamily="2" charset="-122"/>
                <a:cs typeface="Calibri" panose="020F0502020204030204" pitchFamily="34" charset="0"/>
              </a:rPr>
              <a:t> promotes the modularity of the program. For example, Monster</a:t>
            </a:r>
            <a:r>
              <a:rPr lang="en-US" altLang="zh-CN" sz="1200" i="1" kern="100" dirty="0">
                <a:effectLst/>
                <a:latin typeface="Calibri" panose="020F0502020204030204" pitchFamily="34" charset="0"/>
                <a:ea typeface="等线" panose="02010600030101010101" pitchFamily="2" charset="-122"/>
                <a:cs typeface="Calibri" panose="020F0502020204030204" pitchFamily="34" charset="0"/>
              </a:rPr>
              <a:t> </a:t>
            </a:r>
            <a:r>
              <a:rPr lang="en-US" altLang="zh-CN" sz="1200" kern="100" dirty="0">
                <a:effectLst/>
                <a:latin typeface="Calibri" panose="020F0502020204030204" pitchFamily="34" charset="0"/>
                <a:ea typeface="等线" panose="02010600030101010101" pitchFamily="2" charset="-122"/>
                <a:cs typeface="Calibri" panose="020F0502020204030204" pitchFamily="34" charset="0"/>
              </a:rPr>
              <a:t>and</a:t>
            </a:r>
            <a:r>
              <a:rPr lang="en-US" altLang="zh-CN" sz="1200" i="1" kern="100" dirty="0">
                <a:effectLst/>
                <a:latin typeface="等线" panose="02010600030101010101" pitchFamily="2" charset="-122"/>
                <a:ea typeface="等线" panose="02010600030101010101" pitchFamily="2" charset="-122"/>
                <a:cs typeface="Calibri" panose="020F0502020204030204" pitchFamily="34" charset="0"/>
              </a:rPr>
              <a:t> </a:t>
            </a:r>
            <a:r>
              <a:rPr lang="en-US" altLang="zh-CN" sz="1200" i="1" kern="100" dirty="0">
                <a:effectLst/>
                <a:latin typeface="Calibri" panose="020F0502020204030204" pitchFamily="34" charset="0"/>
                <a:ea typeface="等线" panose="02010600030101010101" pitchFamily="2" charset="-122"/>
                <a:cs typeface="Calibri" panose="020F0502020204030204" pitchFamily="34" charset="0"/>
              </a:rPr>
              <a:t>Rogue</a:t>
            </a:r>
            <a:r>
              <a:rPr lang="en-US" altLang="zh-CN" sz="1200" kern="100" dirty="0">
                <a:effectLst/>
                <a:latin typeface="等线" panose="02010600030101010101" pitchFamily="2" charset="-122"/>
                <a:ea typeface="等线" panose="02010600030101010101" pitchFamily="2" charset="-122"/>
                <a:cs typeface="Calibri" panose="020F0502020204030204" pitchFamily="34" charset="0"/>
              </a:rPr>
              <a:t> </a:t>
            </a:r>
            <a:r>
              <a:rPr lang="en-US" altLang="zh-CN" sz="1200" kern="100" dirty="0">
                <a:effectLst/>
                <a:latin typeface="Calibri" panose="020F0502020204030204" pitchFamily="34" charset="0"/>
                <a:ea typeface="等线" panose="02010600030101010101" pitchFamily="2" charset="-122"/>
                <a:cs typeface="Calibri" panose="020F0502020204030204" pitchFamily="34" charset="0"/>
              </a:rPr>
              <a:t>are two characters that encapsulate the behavior and movement strategies during the game. </a:t>
            </a:r>
            <a:r>
              <a:rPr lang="en-US" altLang="zh-CN" sz="1200" kern="100" dirty="0">
                <a:latin typeface="Calibri" panose="020F0502020204030204" pitchFamily="34" charset="0"/>
                <a:ea typeface="等线" panose="02010600030101010101" pitchFamily="2" charset="-122"/>
                <a:cs typeface="Calibri" panose="020F0502020204030204" pitchFamily="34" charset="0"/>
              </a:rPr>
              <a:t>E</a:t>
            </a:r>
            <a:r>
              <a:rPr lang="en-US" altLang="zh-CN" sz="1200" kern="100" dirty="0">
                <a:effectLst/>
                <a:latin typeface="Calibri" panose="020F0502020204030204" pitchFamily="34" charset="0"/>
                <a:ea typeface="等线" panose="02010600030101010101" pitchFamily="2" charset="-122"/>
                <a:cs typeface="Calibri" panose="020F0502020204030204" pitchFamily="34" charset="0"/>
              </a:rPr>
              <a:t>ach class maintains a factory object to instantiate the BFS and DFS algorithms while the </a:t>
            </a:r>
            <a:r>
              <a:rPr lang="en-US" altLang="zh-CN" sz="1200" i="1" kern="100" dirty="0">
                <a:effectLst/>
                <a:latin typeface="Calibri" panose="020F0502020204030204" pitchFamily="34" charset="0"/>
                <a:ea typeface="等线" panose="02010600030101010101" pitchFamily="2" charset="-122"/>
                <a:cs typeface="Calibri" panose="020F0502020204030204" pitchFamily="34" charset="0"/>
              </a:rPr>
              <a:t>move()</a:t>
            </a:r>
            <a:r>
              <a:rPr lang="en-US" altLang="zh-CN" sz="1200" kern="100" dirty="0">
                <a:effectLst/>
                <a:latin typeface="等线" panose="02010600030101010101" pitchFamily="2" charset="-122"/>
                <a:ea typeface="等线" panose="02010600030101010101" pitchFamily="2" charset="-122"/>
                <a:cs typeface="Calibri" panose="020F0502020204030204" pitchFamily="34" charset="0"/>
              </a:rPr>
              <a:t> </a:t>
            </a:r>
            <a:r>
              <a:rPr lang="en-US" altLang="zh-CN" sz="1200" kern="100" dirty="0">
                <a:effectLst/>
                <a:latin typeface="Calibri" panose="020F0502020204030204" pitchFamily="34" charset="0"/>
                <a:ea typeface="等线" panose="02010600030101010101" pitchFamily="2" charset="-122"/>
                <a:cs typeface="Calibri" panose="020F0502020204030204" pitchFamily="34" charset="0"/>
              </a:rPr>
              <a:t>method defines the logic of escape or chase</a:t>
            </a:r>
            <a:endParaRPr lang="en-US" altLang="zh-CN" sz="1200" kern="100" dirty="0">
              <a:effectLst/>
              <a:latin typeface="等线" panose="02010600030101010101" pitchFamily="2" charset="-122"/>
              <a:ea typeface="等线" panose="02010600030101010101" pitchFamily="2" charset="-122"/>
              <a:cs typeface="Times New Roman" panose="02020603050405020304" pitchFamily="18" charset="0"/>
            </a:endParaRPr>
          </a:p>
          <a:p>
            <a:endParaRPr lang="zh-CN" altLang="en-US" sz="1200" dirty="0"/>
          </a:p>
        </p:txBody>
      </p:sp>
      <p:sp>
        <p:nvSpPr>
          <p:cNvPr id="5" name="文本框 4">
            <a:extLst>
              <a:ext uri="{FF2B5EF4-FFF2-40B4-BE49-F238E27FC236}">
                <a16:creationId xmlns:a16="http://schemas.microsoft.com/office/drawing/2014/main" id="{E89FCF4D-7996-80B2-052B-BD0187D33A81}"/>
              </a:ext>
            </a:extLst>
          </p:cNvPr>
          <p:cNvSpPr txBox="1"/>
          <p:nvPr/>
        </p:nvSpPr>
        <p:spPr>
          <a:xfrm>
            <a:off x="258381" y="1424125"/>
            <a:ext cx="1264192" cy="307777"/>
          </a:xfrm>
          <a:prstGeom prst="rect">
            <a:avLst/>
          </a:prstGeom>
          <a:noFill/>
        </p:spPr>
        <p:txBody>
          <a:bodyPr wrap="square" rtlCol="0">
            <a:spAutoFit/>
          </a:bodyPr>
          <a:lstStyle/>
          <a:p>
            <a:r>
              <a:rPr lang="en-US" altLang="zh-CN" sz="1400" b="1" dirty="0">
                <a:solidFill>
                  <a:schemeClr val="bg1"/>
                </a:solidFill>
                <a:latin typeface="Calibri" panose="020F0502020204030204" pitchFamily="34" charset="0"/>
                <a:ea typeface="Calibri" panose="020F0502020204030204" pitchFamily="34" charset="0"/>
                <a:cs typeface="Calibri" panose="020F0502020204030204" pitchFamily="34" charset="0"/>
              </a:rPr>
              <a:t>Encapsulation</a:t>
            </a:r>
            <a:endParaRPr lang="zh-CN" altLang="en-US" sz="1400" b="1" dirty="0">
              <a:solidFill>
                <a:schemeClr val="bg1"/>
              </a:solidFill>
              <a:latin typeface="Calibri" panose="020F0502020204030204" pitchFamily="34" charset="0"/>
              <a:cs typeface="Calibri" panose="020F0502020204030204" pitchFamily="34" charset="0"/>
            </a:endParaRPr>
          </a:p>
        </p:txBody>
      </p:sp>
      <p:sp>
        <p:nvSpPr>
          <p:cNvPr id="7" name="文本框 6">
            <a:extLst>
              <a:ext uri="{FF2B5EF4-FFF2-40B4-BE49-F238E27FC236}">
                <a16:creationId xmlns:a16="http://schemas.microsoft.com/office/drawing/2014/main" id="{E5ECEC4A-C964-CC14-19A8-6D152704094C}"/>
              </a:ext>
            </a:extLst>
          </p:cNvPr>
          <p:cNvSpPr txBox="1"/>
          <p:nvPr/>
        </p:nvSpPr>
        <p:spPr>
          <a:xfrm>
            <a:off x="1601884" y="1684180"/>
            <a:ext cx="1264192" cy="307777"/>
          </a:xfrm>
          <a:prstGeom prst="rect">
            <a:avLst/>
          </a:prstGeom>
          <a:noFill/>
        </p:spPr>
        <p:txBody>
          <a:bodyPr wrap="square" rtlCol="0">
            <a:spAutoFit/>
          </a:bodyPr>
          <a:lstStyle/>
          <a:p>
            <a:r>
              <a:rPr lang="en-US" altLang="zh-CN" sz="1400" b="1" dirty="0">
                <a:solidFill>
                  <a:schemeClr val="bg1"/>
                </a:solidFill>
                <a:latin typeface="Calibri" panose="020F0502020204030204" pitchFamily="34" charset="0"/>
                <a:ea typeface="Calibri" panose="020F0502020204030204" pitchFamily="34" charset="0"/>
                <a:cs typeface="Calibri" panose="020F0502020204030204" pitchFamily="34" charset="0"/>
              </a:rPr>
              <a:t>Inheritance</a:t>
            </a:r>
            <a:endParaRPr lang="zh-CN" altLang="en-US" sz="1400" b="1" dirty="0">
              <a:solidFill>
                <a:schemeClr val="bg1"/>
              </a:solidFill>
              <a:latin typeface="Calibri" panose="020F0502020204030204" pitchFamily="34" charset="0"/>
              <a:cs typeface="Calibri" panose="020F0502020204030204" pitchFamily="34" charset="0"/>
            </a:endParaRPr>
          </a:p>
        </p:txBody>
      </p:sp>
      <p:sp>
        <p:nvSpPr>
          <p:cNvPr id="8" name="文本框 7">
            <a:extLst>
              <a:ext uri="{FF2B5EF4-FFF2-40B4-BE49-F238E27FC236}">
                <a16:creationId xmlns:a16="http://schemas.microsoft.com/office/drawing/2014/main" id="{C80F59F5-DFC4-3FB3-D76D-487681D0B17E}"/>
              </a:ext>
            </a:extLst>
          </p:cNvPr>
          <p:cNvSpPr txBox="1"/>
          <p:nvPr/>
        </p:nvSpPr>
        <p:spPr>
          <a:xfrm>
            <a:off x="2786765" y="1916827"/>
            <a:ext cx="1264192" cy="307777"/>
          </a:xfrm>
          <a:prstGeom prst="rect">
            <a:avLst/>
          </a:prstGeom>
          <a:noFill/>
        </p:spPr>
        <p:txBody>
          <a:bodyPr wrap="square" rtlCol="0">
            <a:spAutoFit/>
          </a:bodyPr>
          <a:lstStyle/>
          <a:p>
            <a:r>
              <a:rPr lang="en-US" altLang="zh-CN" sz="1400" b="1" dirty="0">
                <a:solidFill>
                  <a:schemeClr val="bg1"/>
                </a:solidFill>
                <a:latin typeface="Calibri" panose="020F0502020204030204" pitchFamily="34" charset="0"/>
                <a:ea typeface="Calibri" panose="020F0502020204030204" pitchFamily="34" charset="0"/>
                <a:cs typeface="Calibri" panose="020F0502020204030204" pitchFamily="34" charset="0"/>
              </a:rPr>
              <a:t>Polymorphism</a:t>
            </a:r>
            <a:endParaRPr lang="zh-CN" altLang="en-US" sz="1400" b="1" dirty="0">
              <a:solidFill>
                <a:schemeClr val="bg1"/>
              </a:solidFill>
              <a:latin typeface="Calibri" panose="020F0502020204030204" pitchFamily="34" charset="0"/>
              <a:cs typeface="Calibri" panose="020F0502020204030204" pitchFamily="34" charset="0"/>
            </a:endParaRPr>
          </a:p>
        </p:txBody>
      </p:sp>
      <p:sp>
        <p:nvSpPr>
          <p:cNvPr id="9" name="文本框 8">
            <a:extLst>
              <a:ext uri="{FF2B5EF4-FFF2-40B4-BE49-F238E27FC236}">
                <a16:creationId xmlns:a16="http://schemas.microsoft.com/office/drawing/2014/main" id="{FCFCBE98-14B3-B55D-2CC2-089990BF41E7}"/>
              </a:ext>
            </a:extLst>
          </p:cNvPr>
          <p:cNvSpPr txBox="1"/>
          <p:nvPr/>
        </p:nvSpPr>
        <p:spPr>
          <a:xfrm>
            <a:off x="4156240" y="2153849"/>
            <a:ext cx="1264192" cy="307777"/>
          </a:xfrm>
          <a:prstGeom prst="rect">
            <a:avLst/>
          </a:prstGeom>
          <a:noFill/>
        </p:spPr>
        <p:txBody>
          <a:bodyPr wrap="square" rtlCol="0">
            <a:spAutoFit/>
          </a:bodyPr>
          <a:lstStyle/>
          <a:p>
            <a:r>
              <a:rPr lang="en-US" altLang="zh-CN" sz="1400" b="1" dirty="0">
                <a:solidFill>
                  <a:schemeClr val="bg1"/>
                </a:solidFill>
                <a:latin typeface="Calibri" panose="020F0502020204030204" pitchFamily="34" charset="0"/>
                <a:ea typeface="Calibri" panose="020F0502020204030204" pitchFamily="34" charset="0"/>
                <a:cs typeface="Calibri" panose="020F0502020204030204" pitchFamily="34" charset="0"/>
              </a:rPr>
              <a:t>Abstraction</a:t>
            </a:r>
            <a:endParaRPr lang="zh-CN" altLang="en-US" sz="1400" b="1" dirty="0">
              <a:solidFill>
                <a:schemeClr val="bg1"/>
              </a:solidFill>
              <a:latin typeface="Calibri" panose="020F0502020204030204" pitchFamily="34" charset="0"/>
              <a:cs typeface="Calibri" panose="020F0502020204030204" pitchFamily="34" charset="0"/>
            </a:endParaRPr>
          </a:p>
        </p:txBody>
      </p:sp>
      <p:sp>
        <p:nvSpPr>
          <p:cNvPr id="10" name="文本框 9">
            <a:extLst>
              <a:ext uri="{FF2B5EF4-FFF2-40B4-BE49-F238E27FC236}">
                <a16:creationId xmlns:a16="http://schemas.microsoft.com/office/drawing/2014/main" id="{4984451E-2534-F630-D662-A2463B0FE0F1}"/>
              </a:ext>
            </a:extLst>
          </p:cNvPr>
          <p:cNvSpPr txBox="1"/>
          <p:nvPr/>
        </p:nvSpPr>
        <p:spPr>
          <a:xfrm>
            <a:off x="1574420" y="2218634"/>
            <a:ext cx="1191846" cy="3785652"/>
          </a:xfrm>
          <a:prstGeom prst="rect">
            <a:avLst/>
          </a:prstGeom>
          <a:noFill/>
        </p:spPr>
        <p:txBody>
          <a:bodyPr wrap="square" rtlCol="0">
            <a:spAutoFit/>
          </a:bodyPr>
          <a:lstStyle/>
          <a:p>
            <a:r>
              <a:rPr lang="en-US" altLang="zh-CN" sz="1200" b="1" kern="100" dirty="0">
                <a:latin typeface="Calibri" panose="020F0502020204030204" pitchFamily="34" charset="0"/>
                <a:ea typeface="等线" panose="02010600030101010101" pitchFamily="2" charset="-122"/>
                <a:cs typeface="Calibri" panose="020F0502020204030204" pitchFamily="34" charset="0"/>
              </a:rPr>
              <a:t>Inheritance</a:t>
            </a:r>
            <a:r>
              <a:rPr lang="en-US" altLang="zh-CN" sz="1200" kern="100" dirty="0">
                <a:latin typeface="Calibri" panose="020F0502020204030204" pitchFamily="34" charset="0"/>
                <a:ea typeface="等线" panose="02010600030101010101" pitchFamily="2" charset="-122"/>
                <a:cs typeface="Calibri" panose="020F0502020204030204" pitchFamily="34" charset="0"/>
              </a:rPr>
              <a:t> e</a:t>
            </a:r>
            <a:r>
              <a:rPr lang="en-US" altLang="zh-CN" sz="1200" kern="100" dirty="0">
                <a:effectLst/>
                <a:latin typeface="Calibri" panose="020F0502020204030204" pitchFamily="34" charset="0"/>
                <a:ea typeface="等线" panose="02010600030101010101" pitchFamily="2" charset="-122"/>
                <a:cs typeface="Calibri" panose="020F0502020204030204" pitchFamily="34" charset="0"/>
              </a:rPr>
              <a:t>nhances the code reusability, promotes the program scalability and facilitates the maintenance process. For example, </a:t>
            </a:r>
            <a:r>
              <a:rPr lang="en-US" altLang="zh-CN" sz="1200" i="1" kern="100" dirty="0" err="1">
                <a:effectLst/>
                <a:latin typeface="Calibri" panose="020F0502020204030204" pitchFamily="34" charset="0"/>
                <a:ea typeface="等线" panose="02010600030101010101" pitchFamily="2" charset="-122"/>
                <a:cs typeface="Calibri" panose="020F0502020204030204" pitchFamily="34" charset="0"/>
              </a:rPr>
              <a:t>AlgorithmBase</a:t>
            </a:r>
            <a:r>
              <a:rPr lang="en-US" altLang="zh-CN" sz="1200" i="1" kern="100" dirty="0">
                <a:effectLst/>
                <a:latin typeface="Calibri" panose="020F0502020204030204" pitchFamily="34" charset="0"/>
                <a:ea typeface="等线" panose="02010600030101010101" pitchFamily="2" charset="-122"/>
                <a:cs typeface="Calibri" panose="020F0502020204030204" pitchFamily="34" charset="0"/>
              </a:rPr>
              <a:t> </a:t>
            </a:r>
            <a:r>
              <a:rPr lang="en-US" altLang="zh-CN" sz="1200" kern="100" dirty="0">
                <a:effectLst/>
                <a:latin typeface="Calibri" panose="020F0502020204030204" pitchFamily="34" charset="0"/>
                <a:ea typeface="等线" panose="02010600030101010101" pitchFamily="2" charset="-122"/>
                <a:cs typeface="Times New Roman" panose="02020603050405020304" pitchFamily="18" charset="0"/>
              </a:rPr>
              <a:t>is a</a:t>
            </a:r>
            <a:r>
              <a:rPr lang="en-US" altLang="zh-CN" sz="1200" kern="100" dirty="0">
                <a:effectLst/>
                <a:latin typeface="等线" panose="02010600030101010101" pitchFamily="2" charset="-122"/>
                <a:ea typeface="等线" panose="02010600030101010101" pitchFamily="2" charset="-122"/>
                <a:cs typeface="Calibri" panose="020F0502020204030204" pitchFamily="34" charset="0"/>
              </a:rPr>
              <a:t> </a:t>
            </a:r>
            <a:r>
              <a:rPr lang="en-US" altLang="zh-CN" sz="1200" kern="100" dirty="0">
                <a:effectLst/>
                <a:latin typeface="Calibri" panose="020F0502020204030204" pitchFamily="34" charset="0"/>
                <a:ea typeface="等线" panose="02010600030101010101" pitchFamily="2" charset="-122"/>
                <a:cs typeface="Calibri" panose="020F0502020204030204" pitchFamily="34" charset="0"/>
              </a:rPr>
              <a:t>super</a:t>
            </a:r>
            <a:r>
              <a:rPr lang="en-US" altLang="zh-CN" sz="1200" kern="100" dirty="0">
                <a:effectLst/>
                <a:latin typeface="Calibri" panose="020F0502020204030204" pitchFamily="34" charset="0"/>
                <a:ea typeface="等线" panose="02010600030101010101" pitchFamily="2" charset="-122"/>
                <a:cs typeface="Times New Roman" panose="02020603050405020304" pitchFamily="18" charset="0"/>
              </a:rPr>
              <a:t>class that defines the basic structure and methods </a:t>
            </a:r>
            <a:r>
              <a:rPr lang="en-US" altLang="zh-CN" sz="1200" kern="100" dirty="0">
                <a:effectLst/>
                <a:latin typeface="Calibri" panose="020F0502020204030204" pitchFamily="34" charset="0"/>
                <a:ea typeface="等线" panose="02010600030101010101" pitchFamily="2" charset="-122"/>
                <a:cs typeface="Calibri" panose="020F0502020204030204" pitchFamily="34" charset="0"/>
              </a:rPr>
              <a:t>such as</a:t>
            </a:r>
            <a:r>
              <a:rPr lang="en-US" altLang="zh-CN" sz="1200" i="1" kern="100" dirty="0">
                <a:effectLst/>
                <a:latin typeface="等线" panose="02010600030101010101" pitchFamily="2" charset="-122"/>
                <a:ea typeface="等线" panose="02010600030101010101" pitchFamily="2" charset="-122"/>
                <a:cs typeface="Calibri" panose="020F0502020204030204" pitchFamily="34" charset="0"/>
              </a:rPr>
              <a:t> </a:t>
            </a:r>
            <a:r>
              <a:rPr lang="en-US" altLang="zh-CN" sz="1200" i="1" kern="100" dirty="0" err="1">
                <a:effectLst/>
                <a:latin typeface="Calibri" panose="020F0502020204030204" pitchFamily="34" charset="0"/>
                <a:ea typeface="等线" panose="02010600030101010101" pitchFamily="2" charset="-122"/>
                <a:cs typeface="Times New Roman" panose="02020603050405020304" pitchFamily="18" charset="0"/>
              </a:rPr>
              <a:t>bfs</a:t>
            </a:r>
            <a:r>
              <a:rPr lang="en-US" altLang="zh-CN" sz="1200" i="1" kern="100" dirty="0">
                <a:effectLst/>
                <a:latin typeface="Calibri" panose="020F0502020204030204" pitchFamily="34" charset="0"/>
                <a:ea typeface="等线" panose="02010600030101010101" pitchFamily="2" charset="-122"/>
                <a:cs typeface="Calibri" panose="020F0502020204030204" pitchFamily="34" charset="0"/>
              </a:rPr>
              <a:t>()</a:t>
            </a:r>
            <a:r>
              <a:rPr lang="en-US" altLang="zh-CN" sz="1200" kern="100" dirty="0">
                <a:effectLst/>
                <a:latin typeface="等线" panose="02010600030101010101" pitchFamily="2" charset="-122"/>
                <a:ea typeface="等线" panose="02010600030101010101" pitchFamily="2" charset="-122"/>
                <a:cs typeface="Calibri" panose="020F0502020204030204" pitchFamily="34" charset="0"/>
              </a:rPr>
              <a:t> </a:t>
            </a:r>
            <a:r>
              <a:rPr lang="en-US" altLang="zh-CN" sz="1200" kern="100" dirty="0">
                <a:effectLst/>
                <a:latin typeface="Calibri" panose="020F0502020204030204" pitchFamily="34" charset="0"/>
                <a:ea typeface="等线" panose="02010600030101010101" pitchFamily="2" charset="-122"/>
                <a:cs typeface="Calibri" panose="020F0502020204030204" pitchFamily="34" charset="0"/>
              </a:rPr>
              <a:t>and</a:t>
            </a:r>
            <a:r>
              <a:rPr lang="en-US" altLang="zh-CN" sz="1200" kern="100" dirty="0">
                <a:effectLst/>
                <a:latin typeface="Calibri" panose="020F0502020204030204" pitchFamily="34" charset="0"/>
                <a:ea typeface="等线" panose="02010600030101010101" pitchFamily="2" charset="-122"/>
                <a:cs typeface="Times New Roman" panose="02020603050405020304" pitchFamily="18" charset="0"/>
              </a:rPr>
              <a:t> </a:t>
            </a:r>
            <a:r>
              <a:rPr lang="en-US" altLang="zh-CN" sz="1200" i="1" kern="100" dirty="0" err="1">
                <a:effectLst/>
                <a:latin typeface="Calibri" panose="020F0502020204030204" pitchFamily="34" charset="0"/>
                <a:ea typeface="等线" panose="02010600030101010101" pitchFamily="2" charset="-122"/>
                <a:cs typeface="Times New Roman" panose="02020603050405020304" pitchFamily="18" charset="0"/>
              </a:rPr>
              <a:t>dfs</a:t>
            </a:r>
            <a:r>
              <a:rPr lang="en-US" altLang="zh-CN" sz="1200" i="1" kern="100" dirty="0">
                <a:effectLst/>
                <a:latin typeface="Calibri" panose="020F0502020204030204" pitchFamily="34" charset="0"/>
                <a:ea typeface="等线" panose="02010600030101010101" pitchFamily="2" charset="-122"/>
                <a:cs typeface="Calibri" panose="020F0502020204030204" pitchFamily="34" charset="0"/>
              </a:rPr>
              <a:t>()</a:t>
            </a:r>
            <a:r>
              <a:rPr lang="en-US" altLang="zh-CN" sz="1200" kern="100" dirty="0">
                <a:effectLst/>
                <a:latin typeface="Calibri" panose="020F0502020204030204" pitchFamily="34" charset="0"/>
                <a:ea typeface="等线" panose="02010600030101010101" pitchFamily="2" charset="-122"/>
                <a:cs typeface="Times New Roman" panose="02020603050405020304" pitchFamily="18" charset="0"/>
              </a:rPr>
              <a:t> for its subclass to inherit and implement.</a:t>
            </a:r>
            <a:endParaRPr lang="zh-CN" altLang="en-US" sz="1200" dirty="0"/>
          </a:p>
        </p:txBody>
      </p:sp>
      <p:sp>
        <p:nvSpPr>
          <p:cNvPr id="13" name="矩形: 圆角 12">
            <a:extLst>
              <a:ext uri="{FF2B5EF4-FFF2-40B4-BE49-F238E27FC236}">
                <a16:creationId xmlns:a16="http://schemas.microsoft.com/office/drawing/2014/main" id="{8E461D74-8FD7-8712-3C29-71783FEA7DC9}"/>
              </a:ext>
            </a:extLst>
          </p:cNvPr>
          <p:cNvSpPr/>
          <p:nvPr/>
        </p:nvSpPr>
        <p:spPr>
          <a:xfrm>
            <a:off x="5909553" y="1087055"/>
            <a:ext cx="6094378" cy="5179979"/>
          </a:xfrm>
          <a:prstGeom prst="roundRect">
            <a:avLst/>
          </a:prstGeom>
          <a:noFill/>
          <a:ln w="19050">
            <a:prstDash val="lg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文本框 13">
            <a:extLst>
              <a:ext uri="{FF2B5EF4-FFF2-40B4-BE49-F238E27FC236}">
                <a16:creationId xmlns:a16="http://schemas.microsoft.com/office/drawing/2014/main" id="{DDABFA12-103C-92AC-39B6-95D8C80F9B6B}"/>
              </a:ext>
            </a:extLst>
          </p:cNvPr>
          <p:cNvSpPr txBox="1"/>
          <p:nvPr/>
        </p:nvSpPr>
        <p:spPr>
          <a:xfrm>
            <a:off x="7548664" y="1191638"/>
            <a:ext cx="3039893" cy="369332"/>
          </a:xfrm>
          <a:prstGeom prst="rect">
            <a:avLst/>
          </a:prstGeom>
          <a:noFill/>
        </p:spPr>
        <p:txBody>
          <a:bodyPr wrap="square" rtlCol="0">
            <a:spAutoFit/>
          </a:bodyPr>
          <a:lstStyle/>
          <a:p>
            <a:pPr algn="ctr"/>
            <a:r>
              <a:rPr lang="en-US" altLang="zh-CN" b="1" dirty="0">
                <a:latin typeface="Calibri" panose="020F0502020204030204" pitchFamily="34" charset="0"/>
                <a:ea typeface="Calibri" panose="020F0502020204030204" pitchFamily="34" charset="0"/>
                <a:cs typeface="Calibri" panose="020F0502020204030204" pitchFamily="34" charset="0"/>
              </a:rPr>
              <a:t>System Class Diagram</a:t>
            </a:r>
            <a:endParaRPr lang="zh-CN" altLang="en-US" b="1" dirty="0">
              <a:latin typeface="Calibri" panose="020F0502020204030204" pitchFamily="34" charset="0"/>
              <a:cs typeface="Calibri" panose="020F0502020204030204" pitchFamily="34" charset="0"/>
            </a:endParaRPr>
          </a:p>
        </p:txBody>
      </p:sp>
      <p:sp>
        <p:nvSpPr>
          <p:cNvPr id="15" name="文本框 14">
            <a:extLst>
              <a:ext uri="{FF2B5EF4-FFF2-40B4-BE49-F238E27FC236}">
                <a16:creationId xmlns:a16="http://schemas.microsoft.com/office/drawing/2014/main" id="{EE278F8E-37EE-0025-638A-0B63C2422A15}"/>
              </a:ext>
            </a:extLst>
          </p:cNvPr>
          <p:cNvSpPr txBox="1"/>
          <p:nvPr/>
        </p:nvSpPr>
        <p:spPr>
          <a:xfrm>
            <a:off x="2836578" y="2496164"/>
            <a:ext cx="1191846" cy="2677656"/>
          </a:xfrm>
          <a:prstGeom prst="rect">
            <a:avLst/>
          </a:prstGeom>
          <a:noFill/>
        </p:spPr>
        <p:txBody>
          <a:bodyPr wrap="square" rtlCol="0">
            <a:spAutoFit/>
          </a:bodyPr>
          <a:lstStyle/>
          <a:p>
            <a:r>
              <a:rPr lang="en-US" altLang="zh-CN" sz="1200" b="1" kern="100" dirty="0">
                <a:latin typeface="Calibri" panose="020F0502020204030204" pitchFamily="34" charset="0"/>
                <a:ea typeface="等线" panose="02010600030101010101" pitchFamily="2" charset="-122"/>
                <a:cs typeface="Calibri" panose="020F0502020204030204" pitchFamily="34" charset="0"/>
              </a:rPr>
              <a:t>Polymorphism</a:t>
            </a:r>
            <a:r>
              <a:rPr lang="en-US" altLang="zh-CN" sz="1200" kern="100" dirty="0">
                <a:latin typeface="Calibri" panose="020F0502020204030204" pitchFamily="34" charset="0"/>
                <a:ea typeface="等线" panose="02010600030101010101" pitchFamily="2" charset="-122"/>
                <a:cs typeface="Calibri" panose="020F0502020204030204" pitchFamily="34" charset="0"/>
              </a:rPr>
              <a:t> implements via the overriding and overloading. For instance, the characters make strategy according to the BFS or DFS, which requires the overriding to the moving method defined previously.</a:t>
            </a:r>
            <a:endParaRPr lang="zh-CN" altLang="en-US" sz="1200" dirty="0"/>
          </a:p>
        </p:txBody>
      </p:sp>
      <p:sp>
        <p:nvSpPr>
          <p:cNvPr id="16" name="文本框 15">
            <a:extLst>
              <a:ext uri="{FF2B5EF4-FFF2-40B4-BE49-F238E27FC236}">
                <a16:creationId xmlns:a16="http://schemas.microsoft.com/office/drawing/2014/main" id="{A38CDB96-2730-A020-F917-E5BFFD7E88C6}"/>
              </a:ext>
            </a:extLst>
          </p:cNvPr>
          <p:cNvSpPr txBox="1"/>
          <p:nvPr/>
        </p:nvSpPr>
        <p:spPr>
          <a:xfrm>
            <a:off x="4090612" y="2698648"/>
            <a:ext cx="1191846" cy="2308324"/>
          </a:xfrm>
          <a:prstGeom prst="rect">
            <a:avLst/>
          </a:prstGeom>
          <a:noFill/>
        </p:spPr>
        <p:txBody>
          <a:bodyPr wrap="square" rtlCol="0">
            <a:spAutoFit/>
          </a:bodyPr>
          <a:lstStyle/>
          <a:p>
            <a:r>
              <a:rPr lang="en-US" altLang="zh-CN" sz="1200" b="1" kern="100" dirty="0">
                <a:latin typeface="Calibri" panose="020F0502020204030204" pitchFamily="34" charset="0"/>
                <a:ea typeface="等线" panose="02010600030101010101" pitchFamily="2" charset="-122"/>
                <a:cs typeface="Calibri" panose="020F0502020204030204" pitchFamily="34" charset="0"/>
              </a:rPr>
              <a:t>Abstraction</a:t>
            </a:r>
            <a:r>
              <a:rPr lang="en-US" altLang="zh-CN" sz="1200" kern="100" dirty="0">
                <a:latin typeface="Calibri" panose="020F0502020204030204" pitchFamily="34" charset="0"/>
                <a:ea typeface="等线" panose="02010600030101010101" pitchFamily="2" charset="-122"/>
                <a:cs typeface="Calibri" panose="020F0502020204030204" pitchFamily="34" charset="0"/>
              </a:rPr>
              <a:t> simplifies the system design and relevant maintenance such that different classes can conduct various kinds of implementation dependents on needs.</a:t>
            </a:r>
            <a:endParaRPr lang="zh-CN" altLang="en-US" sz="1200" dirty="0"/>
          </a:p>
        </p:txBody>
      </p:sp>
      <p:sp>
        <p:nvSpPr>
          <p:cNvPr id="40" name="矩形: 圆角 39">
            <a:extLst>
              <a:ext uri="{FF2B5EF4-FFF2-40B4-BE49-F238E27FC236}">
                <a16:creationId xmlns:a16="http://schemas.microsoft.com/office/drawing/2014/main" id="{ED284966-FA41-534D-D950-D8FB64718A75}"/>
              </a:ext>
            </a:extLst>
          </p:cNvPr>
          <p:cNvSpPr/>
          <p:nvPr/>
        </p:nvSpPr>
        <p:spPr>
          <a:xfrm>
            <a:off x="267895" y="1916826"/>
            <a:ext cx="1147479" cy="4284557"/>
          </a:xfrm>
          <a:prstGeom prst="roundRect">
            <a:avLst/>
          </a:prstGeom>
          <a:noFill/>
          <a:ln>
            <a:prstDash val="dash"/>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圆角 40">
            <a:extLst>
              <a:ext uri="{FF2B5EF4-FFF2-40B4-BE49-F238E27FC236}">
                <a16:creationId xmlns:a16="http://schemas.microsoft.com/office/drawing/2014/main" id="{AD84F282-89B8-9951-1001-D7EA7E367C96}"/>
              </a:ext>
            </a:extLst>
          </p:cNvPr>
          <p:cNvSpPr/>
          <p:nvPr/>
        </p:nvSpPr>
        <p:spPr>
          <a:xfrm>
            <a:off x="1534003" y="2221626"/>
            <a:ext cx="1147479" cy="3770691"/>
          </a:xfrm>
          <a:prstGeom prst="roundRect">
            <a:avLst/>
          </a:prstGeom>
          <a:noFill/>
          <a:ln>
            <a:prstDash val="dash"/>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 name="矩形: 圆角 41">
            <a:extLst>
              <a:ext uri="{FF2B5EF4-FFF2-40B4-BE49-F238E27FC236}">
                <a16:creationId xmlns:a16="http://schemas.microsoft.com/office/drawing/2014/main" id="{61155873-85BD-D946-F92E-B47DD02F435F}"/>
              </a:ext>
            </a:extLst>
          </p:cNvPr>
          <p:cNvSpPr/>
          <p:nvPr/>
        </p:nvSpPr>
        <p:spPr>
          <a:xfrm>
            <a:off x="2805757" y="2494798"/>
            <a:ext cx="1147479" cy="2677655"/>
          </a:xfrm>
          <a:prstGeom prst="roundRect">
            <a:avLst/>
          </a:prstGeom>
          <a:noFill/>
          <a:ln>
            <a:prstDash val="dash"/>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矩形: 圆角 42">
            <a:extLst>
              <a:ext uri="{FF2B5EF4-FFF2-40B4-BE49-F238E27FC236}">
                <a16:creationId xmlns:a16="http://schemas.microsoft.com/office/drawing/2014/main" id="{476864B6-4BE2-340D-8A21-449F8F5E1831}"/>
              </a:ext>
            </a:extLst>
          </p:cNvPr>
          <p:cNvSpPr/>
          <p:nvPr/>
        </p:nvSpPr>
        <p:spPr>
          <a:xfrm>
            <a:off x="4081779" y="2709331"/>
            <a:ext cx="1147479" cy="2261503"/>
          </a:xfrm>
          <a:prstGeom prst="roundRect">
            <a:avLst/>
          </a:prstGeom>
          <a:noFill/>
          <a:ln>
            <a:prstDash val="dash"/>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1500" advClick="0" advTm="1000">
        <p:random/>
      </p:transition>
    </mc:Choice>
    <mc:Fallback xmlns="">
      <p:transition spd="slow" advClick="0" advTm="1000">
        <p:random/>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2" presetClass="entr" presetSubtype="8"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a:extLst>
              <a:ext uri="{FF2B5EF4-FFF2-40B4-BE49-F238E27FC236}">
                <a16:creationId xmlns:a16="http://schemas.microsoft.com/office/drawing/2014/main" id="{F7000E33-D160-3A14-3B3A-FC42EB7EE13B}"/>
              </a:ext>
            </a:extLst>
          </p:cNvPr>
          <p:cNvSpPr/>
          <p:nvPr/>
        </p:nvSpPr>
        <p:spPr>
          <a:xfrm>
            <a:off x="7295745" y="3336587"/>
            <a:ext cx="4533089" cy="3025302"/>
          </a:xfrm>
          <a:prstGeom prst="rect">
            <a:avLst/>
          </a:prstGeom>
          <a:noFill/>
          <a:ln w="28575" cap="rnd">
            <a:prstDash val="dashDot"/>
            <a:roun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文本框 31">
            <a:extLst>
              <a:ext uri="{FF2B5EF4-FFF2-40B4-BE49-F238E27FC236}">
                <a16:creationId xmlns:a16="http://schemas.microsoft.com/office/drawing/2014/main" id="{6991BFED-E108-4F14-B38C-7CF309064E5F}"/>
              </a:ext>
            </a:extLst>
          </p:cNvPr>
          <p:cNvSpPr txBox="1"/>
          <p:nvPr/>
        </p:nvSpPr>
        <p:spPr>
          <a:xfrm>
            <a:off x="396554" y="338992"/>
            <a:ext cx="5094707" cy="462947"/>
          </a:xfrm>
          <a:prstGeom prst="rect">
            <a:avLst/>
          </a:prstGeom>
          <a:noFill/>
          <a:ln w="0">
            <a:noFill/>
          </a:ln>
        </p:spPr>
        <p:txBody>
          <a:bodyPr vert="horz" wrap="square" lIns="89535" tIns="46355" rIns="89535" bIns="46355" numCol="1" anchor="t">
            <a:spAutoFit/>
          </a:bodyPr>
          <a:lstStyle/>
          <a:p>
            <a:pPr marL="0" marR="0" lvl="0" indent="0" algn="l" defTabSz="508000" rtl="0" eaLnBrk="0" fontAlgn="auto" latinLnBrk="0" hangingPunct="1">
              <a:lnSpc>
                <a:spcPct val="100000"/>
              </a:lnSpc>
              <a:spcBef>
                <a:spcPts val="0"/>
              </a:spcBef>
              <a:spcAft>
                <a:spcPts val="0"/>
              </a:spcAft>
              <a:buClrTx/>
              <a:buSzTx/>
              <a:buFontTx/>
              <a:buNone/>
              <a:tabLst/>
              <a:defRPr/>
            </a:pPr>
            <a:r>
              <a:rPr kumimoji="0" lang="en-US" altLang="zh-CN" sz="24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YRDZST"/>
              </a:rPr>
              <a:t>Design Pattern — Factory Pattern</a:t>
            </a:r>
            <a:endParaRPr kumimoji="0" lang="ko-KR" altLang="en-US" sz="2400" b="1" i="0" u="none" strike="noStrike" kern="1200" cap="none" spc="0" normalizeH="0" baseline="0" noProof="0" dirty="0">
              <a:ln>
                <a:noFill/>
              </a:ln>
              <a:solidFill>
                <a:srgbClr val="F0F0F0">
                  <a:lumMod val="25000"/>
                </a:srgbClr>
              </a:solidFill>
              <a:effectLst/>
              <a:uLnTx/>
              <a:uFillTx/>
              <a:latin typeface="Calibri" panose="020F0502020204030204" pitchFamily="34" charset="0"/>
              <a:ea typeface="微软雅黑" panose="020B0503020204020204" charset="-122"/>
              <a:cs typeface="Calibri" panose="020F0502020204030204" pitchFamily="34" charset="0"/>
              <a:sym typeface="YRDZST"/>
            </a:endParaRPr>
          </a:p>
        </p:txBody>
      </p:sp>
      <p:pic>
        <p:nvPicPr>
          <p:cNvPr id="2" name="图片 1">
            <a:extLst>
              <a:ext uri="{FF2B5EF4-FFF2-40B4-BE49-F238E27FC236}">
                <a16:creationId xmlns:a16="http://schemas.microsoft.com/office/drawing/2014/main" id="{13217DA1-6102-52C9-B0A0-41F76C827801}"/>
              </a:ext>
            </a:extLst>
          </p:cNvPr>
          <p:cNvPicPr>
            <a:picLocks noChangeAspect="1"/>
          </p:cNvPicPr>
          <p:nvPr/>
        </p:nvPicPr>
        <p:blipFill>
          <a:blip r:embed="rId4"/>
          <a:srcRect l="1139" t="934" r="334" b="585"/>
          <a:stretch>
            <a:fillRect/>
          </a:stretch>
        </p:blipFill>
        <p:spPr>
          <a:xfrm>
            <a:off x="591174" y="1433312"/>
            <a:ext cx="5521636" cy="4794801"/>
          </a:xfrm>
          <a:prstGeom prst="rect">
            <a:avLst/>
          </a:prstGeom>
          <a:ln>
            <a:noFill/>
          </a:ln>
        </p:spPr>
      </p:pic>
      <p:grpSp>
        <p:nvGrpSpPr>
          <p:cNvPr id="4" name="Group 9">
            <a:extLst>
              <a:ext uri="{FF2B5EF4-FFF2-40B4-BE49-F238E27FC236}">
                <a16:creationId xmlns:a16="http://schemas.microsoft.com/office/drawing/2014/main" id="{94DC6CC5-2C0D-7F81-B9F0-065E24E354C8}"/>
              </a:ext>
            </a:extLst>
          </p:cNvPr>
          <p:cNvGrpSpPr>
            <a:grpSpLocks/>
          </p:cNvGrpSpPr>
          <p:nvPr/>
        </p:nvGrpSpPr>
        <p:grpSpPr bwMode="auto">
          <a:xfrm>
            <a:off x="7714034" y="919264"/>
            <a:ext cx="3317031" cy="2140085"/>
            <a:chOff x="1243489" y="1768025"/>
            <a:chExt cx="5390143" cy="3717925"/>
          </a:xfrm>
        </p:grpSpPr>
        <p:grpSp>
          <p:nvGrpSpPr>
            <p:cNvPr id="5" name="Group 8">
              <a:extLst>
                <a:ext uri="{FF2B5EF4-FFF2-40B4-BE49-F238E27FC236}">
                  <a16:creationId xmlns:a16="http://schemas.microsoft.com/office/drawing/2014/main" id="{3BB46584-BD5B-C80C-6246-9657E5E2E134}"/>
                </a:ext>
              </a:extLst>
            </p:cNvPr>
            <p:cNvGrpSpPr>
              <a:grpSpLocks/>
            </p:cNvGrpSpPr>
            <p:nvPr/>
          </p:nvGrpSpPr>
          <p:grpSpPr bwMode="auto">
            <a:xfrm>
              <a:off x="1243489" y="1768025"/>
              <a:ext cx="5390143" cy="3717925"/>
              <a:chOff x="1243489" y="1768025"/>
              <a:chExt cx="5390143" cy="3717925"/>
            </a:xfrm>
          </p:grpSpPr>
          <p:grpSp>
            <p:nvGrpSpPr>
              <p:cNvPr id="11" name="Group 7">
                <a:extLst>
                  <a:ext uri="{FF2B5EF4-FFF2-40B4-BE49-F238E27FC236}">
                    <a16:creationId xmlns:a16="http://schemas.microsoft.com/office/drawing/2014/main" id="{371DADDE-B4F9-96B9-019D-4B8D1E6FEEC1}"/>
                  </a:ext>
                </a:extLst>
              </p:cNvPr>
              <p:cNvGrpSpPr>
                <a:grpSpLocks/>
              </p:cNvGrpSpPr>
              <p:nvPr/>
            </p:nvGrpSpPr>
            <p:grpSpPr bwMode="auto">
              <a:xfrm>
                <a:off x="1243489" y="1768025"/>
                <a:ext cx="5390143" cy="3717925"/>
                <a:chOff x="1243489" y="1768025"/>
                <a:chExt cx="5390143" cy="3717925"/>
              </a:xfrm>
            </p:grpSpPr>
            <p:grpSp>
              <p:nvGrpSpPr>
                <p:cNvPr id="13" name="Group 15">
                  <a:extLst>
                    <a:ext uri="{FF2B5EF4-FFF2-40B4-BE49-F238E27FC236}">
                      <a16:creationId xmlns:a16="http://schemas.microsoft.com/office/drawing/2014/main" id="{1A5E7788-4D5C-49D5-7A7F-5334B61324B0}"/>
                    </a:ext>
                  </a:extLst>
                </p:cNvPr>
                <p:cNvGrpSpPr>
                  <a:grpSpLocks noChangeAspect="1"/>
                </p:cNvGrpSpPr>
                <p:nvPr/>
              </p:nvGrpSpPr>
              <p:grpSpPr bwMode="auto">
                <a:xfrm>
                  <a:off x="1243489" y="1768025"/>
                  <a:ext cx="5390143" cy="3717925"/>
                  <a:chOff x="940378" y="1114346"/>
                  <a:chExt cx="7056438" cy="4867275"/>
                </a:xfrm>
              </p:grpSpPr>
              <p:sp>
                <p:nvSpPr>
                  <p:cNvPr id="17" name="Arc 682">
                    <a:extLst>
                      <a:ext uri="{FF2B5EF4-FFF2-40B4-BE49-F238E27FC236}">
                        <a16:creationId xmlns:a16="http://schemas.microsoft.com/office/drawing/2014/main" id="{E8D47DF3-D824-FA98-43AD-71A99EB2A936}"/>
                      </a:ext>
                    </a:extLst>
                  </p:cNvPr>
                  <p:cNvSpPr>
                    <a:spLocks/>
                  </p:cNvSpPr>
                  <p:nvPr/>
                </p:nvSpPr>
                <p:spPr bwMode="auto">
                  <a:xfrm rot="18746405">
                    <a:off x="3554241" y="1120674"/>
                    <a:ext cx="1014189" cy="1001532"/>
                  </a:xfrm>
                  <a:custGeom>
                    <a:avLst/>
                    <a:gdLst>
                      <a:gd name="T0" fmla="*/ 2147483647 w 21600"/>
                      <a:gd name="T1" fmla="*/ 0 h 21356"/>
                      <a:gd name="T2" fmla="*/ 2147483647 w 21600"/>
                      <a:gd name="T3" fmla="*/ 2147483647 h 21356"/>
                      <a:gd name="T4" fmla="*/ 0 w 21600"/>
                      <a:gd name="T5" fmla="*/ 2147483647 h 21356"/>
                      <a:gd name="T6" fmla="*/ 0 60000 65536"/>
                      <a:gd name="T7" fmla="*/ 0 60000 65536"/>
                      <a:gd name="T8" fmla="*/ 0 60000 65536"/>
                      <a:gd name="T9" fmla="*/ 0 w 21600"/>
                      <a:gd name="T10" fmla="*/ 0 h 21356"/>
                      <a:gd name="T11" fmla="*/ 21600 w 21600"/>
                      <a:gd name="T12" fmla="*/ 21356 h 21356"/>
                    </a:gdLst>
                    <a:ahLst/>
                    <a:cxnLst>
                      <a:cxn ang="T6">
                        <a:pos x="T0" y="T1"/>
                      </a:cxn>
                      <a:cxn ang="T7">
                        <a:pos x="T2" y="T3"/>
                      </a:cxn>
                      <a:cxn ang="T8">
                        <a:pos x="T4" y="T5"/>
                      </a:cxn>
                    </a:cxnLst>
                    <a:rect l="T9" t="T10" r="T11" b="T12"/>
                    <a:pathLst>
                      <a:path w="21600" h="21356" fill="none" extrusionOk="0">
                        <a:moveTo>
                          <a:pt x="3237" y="-1"/>
                        </a:moveTo>
                        <a:cubicBezTo>
                          <a:pt x="13795" y="1600"/>
                          <a:pt x="21600" y="10676"/>
                          <a:pt x="21600" y="21356"/>
                        </a:cubicBezTo>
                      </a:path>
                      <a:path w="21600" h="21356" stroke="0" extrusionOk="0">
                        <a:moveTo>
                          <a:pt x="3237" y="-1"/>
                        </a:moveTo>
                        <a:cubicBezTo>
                          <a:pt x="13795" y="1600"/>
                          <a:pt x="21600" y="10676"/>
                          <a:pt x="21600" y="21356"/>
                        </a:cubicBezTo>
                        <a:lnTo>
                          <a:pt x="0" y="21356"/>
                        </a:lnTo>
                        <a:lnTo>
                          <a:pt x="3237" y="-1"/>
                        </a:lnTo>
                        <a:close/>
                      </a:path>
                    </a:pathLst>
                  </a:custGeom>
                  <a:noFill/>
                  <a:ln w="38100">
                    <a:solidFill>
                      <a:schemeClr val="accent2"/>
                    </a:solidFill>
                    <a:prstDash val="solid"/>
                    <a:round/>
                    <a:headE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dirty="0">
                      <a:ln>
                        <a:noFill/>
                      </a:ln>
                      <a:solidFill>
                        <a:srgbClr val="000000"/>
                      </a:solidFill>
                      <a:effectLst/>
                      <a:uLnTx/>
                      <a:uFillTx/>
                      <a:latin typeface="Aa楷体" panose="02000500000000000000" pitchFamily="2" charset="-122"/>
                      <a:ea typeface="Gulim" pitchFamily="34" charset="-127"/>
                      <a:cs typeface="+mn-cs"/>
                      <a:sym typeface="YRDZST"/>
                    </a:endParaRPr>
                  </a:p>
                </p:txBody>
              </p:sp>
              <p:sp>
                <p:nvSpPr>
                  <p:cNvPr id="18" name="Freeform 673">
                    <a:extLst>
                      <a:ext uri="{FF2B5EF4-FFF2-40B4-BE49-F238E27FC236}">
                        <a16:creationId xmlns:a16="http://schemas.microsoft.com/office/drawing/2014/main" id="{8FA50924-4BB7-1C68-CC90-866F198CF598}"/>
                      </a:ext>
                    </a:extLst>
                  </p:cNvPr>
                  <p:cNvSpPr>
                    <a:spLocks noEditPoints="1"/>
                  </p:cNvSpPr>
                  <p:nvPr/>
                </p:nvSpPr>
                <p:spPr bwMode="auto">
                  <a:xfrm rot="-324743">
                    <a:off x="4204278" y="1579484"/>
                    <a:ext cx="2628900" cy="2630487"/>
                  </a:xfrm>
                  <a:custGeom>
                    <a:avLst/>
                    <a:gdLst>
                      <a:gd name="T0" fmla="*/ 2147483646 w 1816"/>
                      <a:gd name="T1" fmla="*/ 2147483646 h 1816"/>
                      <a:gd name="T2" fmla="*/ 2147483646 w 1816"/>
                      <a:gd name="T3" fmla="*/ 2147483646 h 1816"/>
                      <a:gd name="T4" fmla="*/ 2147483646 w 1816"/>
                      <a:gd name="T5" fmla="*/ 2147483646 h 1816"/>
                      <a:gd name="T6" fmla="*/ 2147483646 w 1816"/>
                      <a:gd name="T7" fmla="*/ 2147483646 h 1816"/>
                      <a:gd name="T8" fmla="*/ 2147483646 w 1816"/>
                      <a:gd name="T9" fmla="*/ 2147483646 h 1816"/>
                      <a:gd name="T10" fmla="*/ 2147483646 w 1816"/>
                      <a:gd name="T11" fmla="*/ 2147483646 h 1816"/>
                      <a:gd name="T12" fmla="*/ 2147483646 w 1816"/>
                      <a:gd name="T13" fmla="*/ 2147483646 h 1816"/>
                      <a:gd name="T14" fmla="*/ 2147483646 w 1816"/>
                      <a:gd name="T15" fmla="*/ 2147483646 h 1816"/>
                      <a:gd name="T16" fmla="*/ 2147483646 w 1816"/>
                      <a:gd name="T17" fmla="*/ 2147483646 h 1816"/>
                      <a:gd name="T18" fmla="*/ 2147483646 w 1816"/>
                      <a:gd name="T19" fmla="*/ 2147483646 h 1816"/>
                      <a:gd name="T20" fmla="*/ 2147483646 w 1816"/>
                      <a:gd name="T21" fmla="*/ 2147483646 h 1816"/>
                      <a:gd name="T22" fmla="*/ 2147483646 w 1816"/>
                      <a:gd name="T23" fmla="*/ 2147483646 h 1816"/>
                      <a:gd name="T24" fmla="*/ 0 w 1816"/>
                      <a:gd name="T25" fmla="*/ 2147483646 h 1816"/>
                      <a:gd name="T26" fmla="*/ 2147483646 w 1816"/>
                      <a:gd name="T27" fmla="*/ 2147483646 h 1816"/>
                      <a:gd name="T28" fmla="*/ 2147483646 w 1816"/>
                      <a:gd name="T29" fmla="*/ 2147483646 h 1816"/>
                      <a:gd name="T30" fmla="*/ 2147483646 w 1816"/>
                      <a:gd name="T31" fmla="*/ 2147483646 h 1816"/>
                      <a:gd name="T32" fmla="*/ 2147483646 w 1816"/>
                      <a:gd name="T33" fmla="*/ 2147483646 h 1816"/>
                      <a:gd name="T34" fmla="*/ 2147483646 w 1816"/>
                      <a:gd name="T35" fmla="*/ 2147483646 h 1816"/>
                      <a:gd name="T36" fmla="*/ 2147483646 w 1816"/>
                      <a:gd name="T37" fmla="*/ 2147483646 h 1816"/>
                      <a:gd name="T38" fmla="*/ 2147483646 w 1816"/>
                      <a:gd name="T39" fmla="*/ 2147483646 h 1816"/>
                      <a:gd name="T40" fmla="*/ 2147483646 w 1816"/>
                      <a:gd name="T41" fmla="*/ 2147483646 h 1816"/>
                      <a:gd name="T42" fmla="*/ 2147483646 w 1816"/>
                      <a:gd name="T43" fmla="*/ 2147483646 h 1816"/>
                      <a:gd name="T44" fmla="*/ 2147483646 w 1816"/>
                      <a:gd name="T45" fmla="*/ 2147483646 h 1816"/>
                      <a:gd name="T46" fmla="*/ 2147483646 w 1816"/>
                      <a:gd name="T47" fmla="*/ 2147483646 h 1816"/>
                      <a:gd name="T48" fmla="*/ 2147483646 w 1816"/>
                      <a:gd name="T49" fmla="*/ 2147483646 h 1816"/>
                      <a:gd name="T50" fmla="*/ 2147483646 w 1816"/>
                      <a:gd name="T51" fmla="*/ 2147483646 h 1816"/>
                      <a:gd name="T52" fmla="*/ 2147483646 w 1816"/>
                      <a:gd name="T53" fmla="*/ 2147483646 h 1816"/>
                      <a:gd name="T54" fmla="*/ 2147483646 w 1816"/>
                      <a:gd name="T55" fmla="*/ 2147483646 h 1816"/>
                      <a:gd name="T56" fmla="*/ 2147483646 w 1816"/>
                      <a:gd name="T57" fmla="*/ 2147483646 h 1816"/>
                      <a:gd name="T58" fmla="*/ 2147483646 w 1816"/>
                      <a:gd name="T59" fmla="*/ 2147483646 h 1816"/>
                      <a:gd name="T60" fmla="*/ 2147483646 w 1816"/>
                      <a:gd name="T61" fmla="*/ 2147483646 h 1816"/>
                      <a:gd name="T62" fmla="*/ 2147483646 w 1816"/>
                      <a:gd name="T63" fmla="*/ 2147483646 h 1816"/>
                      <a:gd name="T64" fmla="*/ 2147483646 w 1816"/>
                      <a:gd name="T65" fmla="*/ 2147483646 h 1816"/>
                      <a:gd name="T66" fmla="*/ 2147483646 w 1816"/>
                      <a:gd name="T67" fmla="*/ 2147483646 h 1816"/>
                      <a:gd name="T68" fmla="*/ 2147483646 w 1816"/>
                      <a:gd name="T69" fmla="*/ 2147483646 h 1816"/>
                      <a:gd name="T70" fmla="*/ 2147483646 w 1816"/>
                      <a:gd name="T71" fmla="*/ 2147483646 h 1816"/>
                      <a:gd name="T72" fmla="*/ 2147483646 w 1816"/>
                      <a:gd name="T73" fmla="*/ 2147483646 h 1816"/>
                      <a:gd name="T74" fmla="*/ 2147483646 w 1816"/>
                      <a:gd name="T75" fmla="*/ 2147483646 h 1816"/>
                      <a:gd name="T76" fmla="*/ 2147483646 w 1816"/>
                      <a:gd name="T77" fmla="*/ 2147483646 h 1816"/>
                      <a:gd name="T78" fmla="*/ 2147483646 w 1816"/>
                      <a:gd name="T79" fmla="*/ 2147483646 h 1816"/>
                      <a:gd name="T80" fmla="*/ 2147483646 w 1816"/>
                      <a:gd name="T81" fmla="*/ 2147483646 h 1816"/>
                      <a:gd name="T82" fmla="*/ 2147483646 w 1816"/>
                      <a:gd name="T83" fmla="*/ 2147483646 h 1816"/>
                      <a:gd name="T84" fmla="*/ 2147483646 w 1816"/>
                      <a:gd name="T85" fmla="*/ 2147483646 h 1816"/>
                      <a:gd name="T86" fmla="*/ 2147483646 w 1816"/>
                      <a:gd name="T87" fmla="*/ 2147483646 h 1816"/>
                      <a:gd name="T88" fmla="*/ 2147483646 w 1816"/>
                      <a:gd name="T89" fmla="*/ 2147483646 h 1816"/>
                      <a:gd name="T90" fmla="*/ 2147483646 w 1816"/>
                      <a:gd name="T91" fmla="*/ 2147483646 h 1816"/>
                      <a:gd name="T92" fmla="*/ 2147483646 w 1816"/>
                      <a:gd name="T93" fmla="*/ 2147483646 h 1816"/>
                      <a:gd name="T94" fmla="*/ 2147483646 w 1816"/>
                      <a:gd name="T95" fmla="*/ 2147483646 h 1816"/>
                      <a:gd name="T96" fmla="*/ 2147483646 w 1816"/>
                      <a:gd name="T97" fmla="*/ 2147483646 h 1816"/>
                      <a:gd name="T98" fmla="*/ 2147483646 w 1816"/>
                      <a:gd name="T99" fmla="*/ 2147483646 h 1816"/>
                      <a:gd name="T100" fmla="*/ 2147483646 w 1816"/>
                      <a:gd name="T101" fmla="*/ 2147483646 h 1816"/>
                      <a:gd name="T102" fmla="*/ 2147483646 w 1816"/>
                      <a:gd name="T103" fmla="*/ 2147483646 h 181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816"/>
                      <a:gd name="T157" fmla="*/ 0 h 1816"/>
                      <a:gd name="T158" fmla="*/ 1816 w 1816"/>
                      <a:gd name="T159" fmla="*/ 1816 h 181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816" h="1816">
                        <a:moveTo>
                          <a:pt x="1816" y="978"/>
                        </a:moveTo>
                        <a:lnTo>
                          <a:pt x="1816" y="836"/>
                        </a:lnTo>
                        <a:lnTo>
                          <a:pt x="1710" y="836"/>
                        </a:lnTo>
                        <a:lnTo>
                          <a:pt x="1706" y="792"/>
                        </a:lnTo>
                        <a:lnTo>
                          <a:pt x="1698" y="750"/>
                        </a:lnTo>
                        <a:lnTo>
                          <a:pt x="1688" y="708"/>
                        </a:lnTo>
                        <a:lnTo>
                          <a:pt x="1678" y="666"/>
                        </a:lnTo>
                        <a:lnTo>
                          <a:pt x="1774" y="626"/>
                        </a:lnTo>
                        <a:lnTo>
                          <a:pt x="1718" y="494"/>
                        </a:lnTo>
                        <a:lnTo>
                          <a:pt x="1622" y="534"/>
                        </a:lnTo>
                        <a:lnTo>
                          <a:pt x="1602" y="496"/>
                        </a:lnTo>
                        <a:lnTo>
                          <a:pt x="1578" y="460"/>
                        </a:lnTo>
                        <a:lnTo>
                          <a:pt x="1552" y="424"/>
                        </a:lnTo>
                        <a:lnTo>
                          <a:pt x="1526" y="390"/>
                        </a:lnTo>
                        <a:lnTo>
                          <a:pt x="1600" y="316"/>
                        </a:lnTo>
                        <a:lnTo>
                          <a:pt x="1498" y="216"/>
                        </a:lnTo>
                        <a:lnTo>
                          <a:pt x="1426" y="290"/>
                        </a:lnTo>
                        <a:lnTo>
                          <a:pt x="1392" y="262"/>
                        </a:lnTo>
                        <a:lnTo>
                          <a:pt x="1356" y="236"/>
                        </a:lnTo>
                        <a:lnTo>
                          <a:pt x="1318" y="214"/>
                        </a:lnTo>
                        <a:lnTo>
                          <a:pt x="1280" y="192"/>
                        </a:lnTo>
                        <a:lnTo>
                          <a:pt x="1320" y="96"/>
                        </a:lnTo>
                        <a:lnTo>
                          <a:pt x="1188" y="42"/>
                        </a:lnTo>
                        <a:lnTo>
                          <a:pt x="1150" y="138"/>
                        </a:lnTo>
                        <a:lnTo>
                          <a:pt x="1108" y="126"/>
                        </a:lnTo>
                        <a:lnTo>
                          <a:pt x="1066" y="116"/>
                        </a:lnTo>
                        <a:lnTo>
                          <a:pt x="1022" y="110"/>
                        </a:lnTo>
                        <a:lnTo>
                          <a:pt x="978" y="104"/>
                        </a:lnTo>
                        <a:lnTo>
                          <a:pt x="978" y="0"/>
                        </a:lnTo>
                        <a:lnTo>
                          <a:pt x="836" y="0"/>
                        </a:lnTo>
                        <a:lnTo>
                          <a:pt x="836" y="104"/>
                        </a:lnTo>
                        <a:lnTo>
                          <a:pt x="792" y="110"/>
                        </a:lnTo>
                        <a:lnTo>
                          <a:pt x="750" y="116"/>
                        </a:lnTo>
                        <a:lnTo>
                          <a:pt x="706" y="126"/>
                        </a:lnTo>
                        <a:lnTo>
                          <a:pt x="666" y="138"/>
                        </a:lnTo>
                        <a:lnTo>
                          <a:pt x="626" y="42"/>
                        </a:lnTo>
                        <a:lnTo>
                          <a:pt x="494" y="96"/>
                        </a:lnTo>
                        <a:lnTo>
                          <a:pt x="534" y="192"/>
                        </a:lnTo>
                        <a:lnTo>
                          <a:pt x="496" y="214"/>
                        </a:lnTo>
                        <a:lnTo>
                          <a:pt x="460" y="236"/>
                        </a:lnTo>
                        <a:lnTo>
                          <a:pt x="424" y="262"/>
                        </a:lnTo>
                        <a:lnTo>
                          <a:pt x="390" y="290"/>
                        </a:lnTo>
                        <a:lnTo>
                          <a:pt x="316" y="216"/>
                        </a:lnTo>
                        <a:lnTo>
                          <a:pt x="216" y="316"/>
                        </a:lnTo>
                        <a:lnTo>
                          <a:pt x="288" y="390"/>
                        </a:lnTo>
                        <a:lnTo>
                          <a:pt x="262" y="424"/>
                        </a:lnTo>
                        <a:lnTo>
                          <a:pt x="236" y="460"/>
                        </a:lnTo>
                        <a:lnTo>
                          <a:pt x="214" y="496"/>
                        </a:lnTo>
                        <a:lnTo>
                          <a:pt x="192" y="534"/>
                        </a:lnTo>
                        <a:lnTo>
                          <a:pt x="96" y="494"/>
                        </a:lnTo>
                        <a:lnTo>
                          <a:pt x="42" y="626"/>
                        </a:lnTo>
                        <a:lnTo>
                          <a:pt x="138" y="666"/>
                        </a:lnTo>
                        <a:lnTo>
                          <a:pt x="126" y="708"/>
                        </a:lnTo>
                        <a:lnTo>
                          <a:pt x="116" y="750"/>
                        </a:lnTo>
                        <a:lnTo>
                          <a:pt x="108" y="792"/>
                        </a:lnTo>
                        <a:lnTo>
                          <a:pt x="104" y="836"/>
                        </a:lnTo>
                        <a:lnTo>
                          <a:pt x="0" y="836"/>
                        </a:lnTo>
                        <a:lnTo>
                          <a:pt x="0" y="978"/>
                        </a:lnTo>
                        <a:lnTo>
                          <a:pt x="104" y="978"/>
                        </a:lnTo>
                        <a:lnTo>
                          <a:pt x="108" y="1022"/>
                        </a:lnTo>
                        <a:lnTo>
                          <a:pt x="116" y="1066"/>
                        </a:lnTo>
                        <a:lnTo>
                          <a:pt x="126" y="1108"/>
                        </a:lnTo>
                        <a:lnTo>
                          <a:pt x="138" y="1150"/>
                        </a:lnTo>
                        <a:lnTo>
                          <a:pt x="42" y="1190"/>
                        </a:lnTo>
                        <a:lnTo>
                          <a:pt x="96" y="1320"/>
                        </a:lnTo>
                        <a:lnTo>
                          <a:pt x="192" y="1280"/>
                        </a:lnTo>
                        <a:lnTo>
                          <a:pt x="214" y="1320"/>
                        </a:lnTo>
                        <a:lnTo>
                          <a:pt x="236" y="1356"/>
                        </a:lnTo>
                        <a:lnTo>
                          <a:pt x="262" y="1392"/>
                        </a:lnTo>
                        <a:lnTo>
                          <a:pt x="288" y="1426"/>
                        </a:lnTo>
                        <a:lnTo>
                          <a:pt x="216" y="1500"/>
                        </a:lnTo>
                        <a:lnTo>
                          <a:pt x="316" y="1600"/>
                        </a:lnTo>
                        <a:lnTo>
                          <a:pt x="390" y="1526"/>
                        </a:lnTo>
                        <a:lnTo>
                          <a:pt x="424" y="1554"/>
                        </a:lnTo>
                        <a:lnTo>
                          <a:pt x="460" y="1578"/>
                        </a:lnTo>
                        <a:lnTo>
                          <a:pt x="496" y="1602"/>
                        </a:lnTo>
                        <a:lnTo>
                          <a:pt x="534" y="1622"/>
                        </a:lnTo>
                        <a:lnTo>
                          <a:pt x="494" y="1718"/>
                        </a:lnTo>
                        <a:lnTo>
                          <a:pt x="626" y="1774"/>
                        </a:lnTo>
                        <a:lnTo>
                          <a:pt x="666" y="1678"/>
                        </a:lnTo>
                        <a:lnTo>
                          <a:pt x="706" y="1690"/>
                        </a:lnTo>
                        <a:lnTo>
                          <a:pt x="750" y="1698"/>
                        </a:lnTo>
                        <a:lnTo>
                          <a:pt x="792" y="1706"/>
                        </a:lnTo>
                        <a:lnTo>
                          <a:pt x="836" y="1712"/>
                        </a:lnTo>
                        <a:lnTo>
                          <a:pt x="836" y="1816"/>
                        </a:lnTo>
                        <a:lnTo>
                          <a:pt x="978" y="1816"/>
                        </a:lnTo>
                        <a:lnTo>
                          <a:pt x="978" y="1712"/>
                        </a:lnTo>
                        <a:lnTo>
                          <a:pt x="1022" y="1706"/>
                        </a:lnTo>
                        <a:lnTo>
                          <a:pt x="1066" y="1698"/>
                        </a:lnTo>
                        <a:lnTo>
                          <a:pt x="1108" y="1690"/>
                        </a:lnTo>
                        <a:lnTo>
                          <a:pt x="1150" y="1678"/>
                        </a:lnTo>
                        <a:lnTo>
                          <a:pt x="1188" y="1774"/>
                        </a:lnTo>
                        <a:lnTo>
                          <a:pt x="1320" y="1718"/>
                        </a:lnTo>
                        <a:lnTo>
                          <a:pt x="1280" y="1622"/>
                        </a:lnTo>
                        <a:lnTo>
                          <a:pt x="1318" y="1602"/>
                        </a:lnTo>
                        <a:lnTo>
                          <a:pt x="1356" y="1578"/>
                        </a:lnTo>
                        <a:lnTo>
                          <a:pt x="1392" y="1554"/>
                        </a:lnTo>
                        <a:lnTo>
                          <a:pt x="1426" y="1526"/>
                        </a:lnTo>
                        <a:lnTo>
                          <a:pt x="1498" y="1600"/>
                        </a:lnTo>
                        <a:lnTo>
                          <a:pt x="1600" y="1500"/>
                        </a:lnTo>
                        <a:lnTo>
                          <a:pt x="1526" y="1426"/>
                        </a:lnTo>
                        <a:lnTo>
                          <a:pt x="1552" y="1392"/>
                        </a:lnTo>
                        <a:lnTo>
                          <a:pt x="1578" y="1356"/>
                        </a:lnTo>
                        <a:lnTo>
                          <a:pt x="1602" y="1320"/>
                        </a:lnTo>
                        <a:lnTo>
                          <a:pt x="1622" y="1280"/>
                        </a:lnTo>
                        <a:lnTo>
                          <a:pt x="1718" y="1320"/>
                        </a:lnTo>
                        <a:lnTo>
                          <a:pt x="1774" y="1190"/>
                        </a:lnTo>
                        <a:lnTo>
                          <a:pt x="1678" y="1150"/>
                        </a:lnTo>
                        <a:lnTo>
                          <a:pt x="1688" y="1108"/>
                        </a:lnTo>
                        <a:lnTo>
                          <a:pt x="1698" y="1066"/>
                        </a:lnTo>
                        <a:lnTo>
                          <a:pt x="1706" y="1022"/>
                        </a:lnTo>
                        <a:lnTo>
                          <a:pt x="1710" y="978"/>
                        </a:lnTo>
                        <a:lnTo>
                          <a:pt x="1816" y="978"/>
                        </a:lnTo>
                        <a:close/>
                        <a:moveTo>
                          <a:pt x="908" y="1614"/>
                        </a:moveTo>
                        <a:lnTo>
                          <a:pt x="908" y="1614"/>
                        </a:lnTo>
                        <a:lnTo>
                          <a:pt x="872" y="1612"/>
                        </a:lnTo>
                        <a:lnTo>
                          <a:pt x="836" y="1610"/>
                        </a:lnTo>
                        <a:lnTo>
                          <a:pt x="800" y="1606"/>
                        </a:lnTo>
                        <a:lnTo>
                          <a:pt x="766" y="1600"/>
                        </a:lnTo>
                        <a:lnTo>
                          <a:pt x="730" y="1592"/>
                        </a:lnTo>
                        <a:lnTo>
                          <a:pt x="698" y="1582"/>
                        </a:lnTo>
                        <a:lnTo>
                          <a:pt x="664" y="1570"/>
                        </a:lnTo>
                        <a:lnTo>
                          <a:pt x="632" y="1558"/>
                        </a:lnTo>
                        <a:lnTo>
                          <a:pt x="602" y="1544"/>
                        </a:lnTo>
                        <a:lnTo>
                          <a:pt x="570" y="1528"/>
                        </a:lnTo>
                        <a:lnTo>
                          <a:pt x="542" y="1512"/>
                        </a:lnTo>
                        <a:lnTo>
                          <a:pt x="512" y="1492"/>
                        </a:lnTo>
                        <a:lnTo>
                          <a:pt x="484" y="1474"/>
                        </a:lnTo>
                        <a:lnTo>
                          <a:pt x="458" y="1452"/>
                        </a:lnTo>
                        <a:lnTo>
                          <a:pt x="432" y="1430"/>
                        </a:lnTo>
                        <a:lnTo>
                          <a:pt x="408" y="1406"/>
                        </a:lnTo>
                        <a:lnTo>
                          <a:pt x="384" y="1382"/>
                        </a:lnTo>
                        <a:lnTo>
                          <a:pt x="362" y="1356"/>
                        </a:lnTo>
                        <a:lnTo>
                          <a:pt x="342" y="1330"/>
                        </a:lnTo>
                        <a:lnTo>
                          <a:pt x="322" y="1302"/>
                        </a:lnTo>
                        <a:lnTo>
                          <a:pt x="304" y="1274"/>
                        </a:lnTo>
                        <a:lnTo>
                          <a:pt x="286" y="1244"/>
                        </a:lnTo>
                        <a:lnTo>
                          <a:pt x="272" y="1214"/>
                        </a:lnTo>
                        <a:lnTo>
                          <a:pt x="256" y="1182"/>
                        </a:lnTo>
                        <a:lnTo>
                          <a:pt x="244" y="1150"/>
                        </a:lnTo>
                        <a:lnTo>
                          <a:pt x="234" y="1118"/>
                        </a:lnTo>
                        <a:lnTo>
                          <a:pt x="224" y="1084"/>
                        </a:lnTo>
                        <a:lnTo>
                          <a:pt x="216" y="1050"/>
                        </a:lnTo>
                        <a:lnTo>
                          <a:pt x="210" y="1016"/>
                        </a:lnTo>
                        <a:lnTo>
                          <a:pt x="206" y="980"/>
                        </a:lnTo>
                        <a:lnTo>
                          <a:pt x="202" y="944"/>
                        </a:lnTo>
                        <a:lnTo>
                          <a:pt x="202" y="908"/>
                        </a:lnTo>
                        <a:lnTo>
                          <a:pt x="202" y="872"/>
                        </a:lnTo>
                        <a:lnTo>
                          <a:pt x="206" y="836"/>
                        </a:lnTo>
                        <a:lnTo>
                          <a:pt x="210" y="800"/>
                        </a:lnTo>
                        <a:lnTo>
                          <a:pt x="216" y="766"/>
                        </a:lnTo>
                        <a:lnTo>
                          <a:pt x="224" y="732"/>
                        </a:lnTo>
                        <a:lnTo>
                          <a:pt x="234" y="698"/>
                        </a:lnTo>
                        <a:lnTo>
                          <a:pt x="244" y="664"/>
                        </a:lnTo>
                        <a:lnTo>
                          <a:pt x="256" y="632"/>
                        </a:lnTo>
                        <a:lnTo>
                          <a:pt x="272" y="602"/>
                        </a:lnTo>
                        <a:lnTo>
                          <a:pt x="286" y="572"/>
                        </a:lnTo>
                        <a:lnTo>
                          <a:pt x="304" y="542"/>
                        </a:lnTo>
                        <a:lnTo>
                          <a:pt x="322" y="512"/>
                        </a:lnTo>
                        <a:lnTo>
                          <a:pt x="342" y="486"/>
                        </a:lnTo>
                        <a:lnTo>
                          <a:pt x="362" y="458"/>
                        </a:lnTo>
                        <a:lnTo>
                          <a:pt x="384" y="432"/>
                        </a:lnTo>
                        <a:lnTo>
                          <a:pt x="408" y="408"/>
                        </a:lnTo>
                        <a:lnTo>
                          <a:pt x="432" y="386"/>
                        </a:lnTo>
                        <a:lnTo>
                          <a:pt x="458" y="362"/>
                        </a:lnTo>
                        <a:lnTo>
                          <a:pt x="484" y="342"/>
                        </a:lnTo>
                        <a:lnTo>
                          <a:pt x="512" y="322"/>
                        </a:lnTo>
                        <a:lnTo>
                          <a:pt x="542" y="304"/>
                        </a:lnTo>
                        <a:lnTo>
                          <a:pt x="570" y="286"/>
                        </a:lnTo>
                        <a:lnTo>
                          <a:pt x="602" y="272"/>
                        </a:lnTo>
                        <a:lnTo>
                          <a:pt x="632" y="258"/>
                        </a:lnTo>
                        <a:lnTo>
                          <a:pt x="664" y="244"/>
                        </a:lnTo>
                        <a:lnTo>
                          <a:pt x="698" y="234"/>
                        </a:lnTo>
                        <a:lnTo>
                          <a:pt x="730" y="224"/>
                        </a:lnTo>
                        <a:lnTo>
                          <a:pt x="766" y="216"/>
                        </a:lnTo>
                        <a:lnTo>
                          <a:pt x="800" y="210"/>
                        </a:lnTo>
                        <a:lnTo>
                          <a:pt x="836" y="206"/>
                        </a:lnTo>
                        <a:lnTo>
                          <a:pt x="872" y="202"/>
                        </a:lnTo>
                        <a:lnTo>
                          <a:pt x="908" y="202"/>
                        </a:lnTo>
                        <a:lnTo>
                          <a:pt x="944" y="202"/>
                        </a:lnTo>
                        <a:lnTo>
                          <a:pt x="980" y="206"/>
                        </a:lnTo>
                        <a:lnTo>
                          <a:pt x="1014" y="210"/>
                        </a:lnTo>
                        <a:lnTo>
                          <a:pt x="1050" y="216"/>
                        </a:lnTo>
                        <a:lnTo>
                          <a:pt x="1084" y="224"/>
                        </a:lnTo>
                        <a:lnTo>
                          <a:pt x="1118" y="234"/>
                        </a:lnTo>
                        <a:lnTo>
                          <a:pt x="1150" y="244"/>
                        </a:lnTo>
                        <a:lnTo>
                          <a:pt x="1182" y="258"/>
                        </a:lnTo>
                        <a:lnTo>
                          <a:pt x="1214" y="272"/>
                        </a:lnTo>
                        <a:lnTo>
                          <a:pt x="1244" y="286"/>
                        </a:lnTo>
                        <a:lnTo>
                          <a:pt x="1274" y="304"/>
                        </a:lnTo>
                        <a:lnTo>
                          <a:pt x="1302" y="322"/>
                        </a:lnTo>
                        <a:lnTo>
                          <a:pt x="1330" y="342"/>
                        </a:lnTo>
                        <a:lnTo>
                          <a:pt x="1356" y="362"/>
                        </a:lnTo>
                        <a:lnTo>
                          <a:pt x="1382" y="386"/>
                        </a:lnTo>
                        <a:lnTo>
                          <a:pt x="1406" y="408"/>
                        </a:lnTo>
                        <a:lnTo>
                          <a:pt x="1430" y="432"/>
                        </a:lnTo>
                        <a:lnTo>
                          <a:pt x="1452" y="458"/>
                        </a:lnTo>
                        <a:lnTo>
                          <a:pt x="1474" y="486"/>
                        </a:lnTo>
                        <a:lnTo>
                          <a:pt x="1492" y="512"/>
                        </a:lnTo>
                        <a:lnTo>
                          <a:pt x="1512" y="542"/>
                        </a:lnTo>
                        <a:lnTo>
                          <a:pt x="1528" y="572"/>
                        </a:lnTo>
                        <a:lnTo>
                          <a:pt x="1544" y="602"/>
                        </a:lnTo>
                        <a:lnTo>
                          <a:pt x="1558" y="632"/>
                        </a:lnTo>
                        <a:lnTo>
                          <a:pt x="1570" y="664"/>
                        </a:lnTo>
                        <a:lnTo>
                          <a:pt x="1582" y="698"/>
                        </a:lnTo>
                        <a:lnTo>
                          <a:pt x="1592" y="732"/>
                        </a:lnTo>
                        <a:lnTo>
                          <a:pt x="1598" y="766"/>
                        </a:lnTo>
                        <a:lnTo>
                          <a:pt x="1606" y="800"/>
                        </a:lnTo>
                        <a:lnTo>
                          <a:pt x="1610" y="836"/>
                        </a:lnTo>
                        <a:lnTo>
                          <a:pt x="1612" y="872"/>
                        </a:lnTo>
                        <a:lnTo>
                          <a:pt x="1614" y="908"/>
                        </a:lnTo>
                        <a:lnTo>
                          <a:pt x="1612" y="944"/>
                        </a:lnTo>
                        <a:lnTo>
                          <a:pt x="1610" y="980"/>
                        </a:lnTo>
                        <a:lnTo>
                          <a:pt x="1606" y="1016"/>
                        </a:lnTo>
                        <a:lnTo>
                          <a:pt x="1598" y="1050"/>
                        </a:lnTo>
                        <a:lnTo>
                          <a:pt x="1592" y="1084"/>
                        </a:lnTo>
                        <a:lnTo>
                          <a:pt x="1582" y="1118"/>
                        </a:lnTo>
                        <a:lnTo>
                          <a:pt x="1570" y="1150"/>
                        </a:lnTo>
                        <a:lnTo>
                          <a:pt x="1558" y="1182"/>
                        </a:lnTo>
                        <a:lnTo>
                          <a:pt x="1544" y="1214"/>
                        </a:lnTo>
                        <a:lnTo>
                          <a:pt x="1528" y="1244"/>
                        </a:lnTo>
                        <a:lnTo>
                          <a:pt x="1512" y="1274"/>
                        </a:lnTo>
                        <a:lnTo>
                          <a:pt x="1492" y="1302"/>
                        </a:lnTo>
                        <a:lnTo>
                          <a:pt x="1474" y="1330"/>
                        </a:lnTo>
                        <a:lnTo>
                          <a:pt x="1452" y="1356"/>
                        </a:lnTo>
                        <a:lnTo>
                          <a:pt x="1430" y="1382"/>
                        </a:lnTo>
                        <a:lnTo>
                          <a:pt x="1406" y="1406"/>
                        </a:lnTo>
                        <a:lnTo>
                          <a:pt x="1382" y="1430"/>
                        </a:lnTo>
                        <a:lnTo>
                          <a:pt x="1356" y="1452"/>
                        </a:lnTo>
                        <a:lnTo>
                          <a:pt x="1330" y="1474"/>
                        </a:lnTo>
                        <a:lnTo>
                          <a:pt x="1302" y="1492"/>
                        </a:lnTo>
                        <a:lnTo>
                          <a:pt x="1274" y="1512"/>
                        </a:lnTo>
                        <a:lnTo>
                          <a:pt x="1244" y="1528"/>
                        </a:lnTo>
                        <a:lnTo>
                          <a:pt x="1214" y="1544"/>
                        </a:lnTo>
                        <a:lnTo>
                          <a:pt x="1182" y="1558"/>
                        </a:lnTo>
                        <a:lnTo>
                          <a:pt x="1150" y="1570"/>
                        </a:lnTo>
                        <a:lnTo>
                          <a:pt x="1118" y="1582"/>
                        </a:lnTo>
                        <a:lnTo>
                          <a:pt x="1084" y="1592"/>
                        </a:lnTo>
                        <a:lnTo>
                          <a:pt x="1050" y="1600"/>
                        </a:lnTo>
                        <a:lnTo>
                          <a:pt x="1014" y="1606"/>
                        </a:lnTo>
                        <a:lnTo>
                          <a:pt x="980" y="1610"/>
                        </a:lnTo>
                        <a:lnTo>
                          <a:pt x="944" y="1612"/>
                        </a:lnTo>
                        <a:lnTo>
                          <a:pt x="908" y="1614"/>
                        </a:lnTo>
                        <a:close/>
                      </a:path>
                    </a:pathLst>
                  </a:custGeom>
                  <a:solidFill>
                    <a:schemeClr val="accent1">
                      <a:alpha val="79999"/>
                    </a:schemeClr>
                  </a:solidFill>
                  <a:ln>
                    <a:noFill/>
                  </a:ln>
                  <a:extLst>
                    <a:ext uri="{91240B29-F687-4F45-9708-019B960494DF}">
                      <a14:hiddenLine xmlns:a14="http://schemas.microsoft.com/office/drawing/2010/main" w="19050" cap="rnd">
                        <a:solidFill>
                          <a:srgbClr val="000000"/>
                        </a:solidFill>
                        <a:prstDash val="sysDot"/>
                        <a:round/>
                        <a:headEnd/>
                        <a:tailEnd/>
                      </a14:hiddenLine>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000000"/>
                      </a:solidFill>
                      <a:effectLst/>
                      <a:uLnTx/>
                      <a:uFillTx/>
                      <a:latin typeface="Aa楷体" panose="02000500000000000000" pitchFamily="2" charset="-122"/>
                      <a:ea typeface="Aa楷体" panose="02000500000000000000" pitchFamily="2" charset="-122"/>
                      <a:cs typeface="+mn-cs"/>
                      <a:sym typeface="YRDZST"/>
                    </a:endParaRPr>
                  </a:p>
                </p:txBody>
              </p:sp>
              <p:sp>
                <p:nvSpPr>
                  <p:cNvPr id="19" name="Freeform 675">
                    <a:extLst>
                      <a:ext uri="{FF2B5EF4-FFF2-40B4-BE49-F238E27FC236}">
                        <a16:creationId xmlns:a16="http://schemas.microsoft.com/office/drawing/2014/main" id="{9D2C310F-EB42-B8AA-0E73-A2F6C92BC9AC}"/>
                      </a:ext>
                    </a:extLst>
                  </p:cNvPr>
                  <p:cNvSpPr>
                    <a:spLocks noEditPoints="1"/>
                  </p:cNvSpPr>
                  <p:nvPr/>
                </p:nvSpPr>
                <p:spPr bwMode="auto">
                  <a:xfrm rot="-324743">
                    <a:off x="940378" y="1649334"/>
                    <a:ext cx="3429000" cy="3429000"/>
                  </a:xfrm>
                  <a:custGeom>
                    <a:avLst/>
                    <a:gdLst>
                      <a:gd name="T0" fmla="*/ 2147483646 w 2622"/>
                      <a:gd name="T1" fmla="*/ 2147483646 h 2622"/>
                      <a:gd name="T2" fmla="*/ 2147483646 w 2622"/>
                      <a:gd name="T3" fmla="*/ 2147483646 h 2622"/>
                      <a:gd name="T4" fmla="*/ 2147483646 w 2622"/>
                      <a:gd name="T5" fmla="*/ 2147483646 h 2622"/>
                      <a:gd name="T6" fmla="*/ 2147483646 w 2622"/>
                      <a:gd name="T7" fmla="*/ 2147483646 h 2622"/>
                      <a:gd name="T8" fmla="*/ 2147483646 w 2622"/>
                      <a:gd name="T9" fmla="*/ 2147483646 h 2622"/>
                      <a:gd name="T10" fmla="*/ 2147483646 w 2622"/>
                      <a:gd name="T11" fmla="*/ 2147483646 h 2622"/>
                      <a:gd name="T12" fmla="*/ 2147483646 w 2622"/>
                      <a:gd name="T13" fmla="*/ 2147483646 h 2622"/>
                      <a:gd name="T14" fmla="*/ 2147483646 w 2622"/>
                      <a:gd name="T15" fmla="*/ 2147483646 h 2622"/>
                      <a:gd name="T16" fmla="*/ 2147483646 w 2622"/>
                      <a:gd name="T17" fmla="*/ 2147483646 h 2622"/>
                      <a:gd name="T18" fmla="*/ 2147483646 w 2622"/>
                      <a:gd name="T19" fmla="*/ 2147483646 h 2622"/>
                      <a:gd name="T20" fmla="*/ 2147483646 w 2622"/>
                      <a:gd name="T21" fmla="*/ 2147483646 h 2622"/>
                      <a:gd name="T22" fmla="*/ 2147483646 w 2622"/>
                      <a:gd name="T23" fmla="*/ 2147483646 h 2622"/>
                      <a:gd name="T24" fmla="*/ 2147483646 w 2622"/>
                      <a:gd name="T25" fmla="*/ 2147483646 h 2622"/>
                      <a:gd name="T26" fmla="*/ 2147483646 w 2622"/>
                      <a:gd name="T27" fmla="*/ 2147483646 h 2622"/>
                      <a:gd name="T28" fmla="*/ 2147483646 w 2622"/>
                      <a:gd name="T29" fmla="*/ 2147483646 h 2622"/>
                      <a:gd name="T30" fmla="*/ 2147483646 w 2622"/>
                      <a:gd name="T31" fmla="*/ 2147483646 h 2622"/>
                      <a:gd name="T32" fmla="*/ 2147483646 w 2622"/>
                      <a:gd name="T33" fmla="*/ 2147483646 h 2622"/>
                      <a:gd name="T34" fmla="*/ 2147483646 w 2622"/>
                      <a:gd name="T35" fmla="*/ 2147483646 h 2622"/>
                      <a:gd name="T36" fmla="*/ 2147483646 w 2622"/>
                      <a:gd name="T37" fmla="*/ 2147483646 h 2622"/>
                      <a:gd name="T38" fmla="*/ 2147483646 w 2622"/>
                      <a:gd name="T39" fmla="*/ 2147483646 h 2622"/>
                      <a:gd name="T40" fmla="*/ 2147483646 w 2622"/>
                      <a:gd name="T41" fmla="*/ 2147483646 h 2622"/>
                      <a:gd name="T42" fmla="*/ 2147483646 w 2622"/>
                      <a:gd name="T43" fmla="*/ 2147483646 h 2622"/>
                      <a:gd name="T44" fmla="*/ 2147483646 w 2622"/>
                      <a:gd name="T45" fmla="*/ 2147483646 h 2622"/>
                      <a:gd name="T46" fmla="*/ 2147483646 w 2622"/>
                      <a:gd name="T47" fmla="*/ 2147483646 h 2622"/>
                      <a:gd name="T48" fmla="*/ 2147483646 w 2622"/>
                      <a:gd name="T49" fmla="*/ 2147483646 h 2622"/>
                      <a:gd name="T50" fmla="*/ 2147483646 w 2622"/>
                      <a:gd name="T51" fmla="*/ 2147483646 h 2622"/>
                      <a:gd name="T52" fmla="*/ 2147483646 w 2622"/>
                      <a:gd name="T53" fmla="*/ 2147483646 h 2622"/>
                      <a:gd name="T54" fmla="*/ 2147483646 w 2622"/>
                      <a:gd name="T55" fmla="*/ 2147483646 h 2622"/>
                      <a:gd name="T56" fmla="*/ 2147483646 w 2622"/>
                      <a:gd name="T57" fmla="*/ 2147483646 h 2622"/>
                      <a:gd name="T58" fmla="*/ 2147483646 w 2622"/>
                      <a:gd name="T59" fmla="*/ 2147483646 h 2622"/>
                      <a:gd name="T60" fmla="*/ 2147483646 w 2622"/>
                      <a:gd name="T61" fmla="*/ 2147483646 h 2622"/>
                      <a:gd name="T62" fmla="*/ 2147483646 w 2622"/>
                      <a:gd name="T63" fmla="*/ 2147483646 h 2622"/>
                      <a:gd name="T64" fmla="*/ 2147483646 w 2622"/>
                      <a:gd name="T65" fmla="*/ 2147483646 h 2622"/>
                      <a:gd name="T66" fmla="*/ 2147483646 w 2622"/>
                      <a:gd name="T67" fmla="*/ 2147483646 h 2622"/>
                      <a:gd name="T68" fmla="*/ 2147483646 w 2622"/>
                      <a:gd name="T69" fmla="*/ 2147483646 h 2622"/>
                      <a:gd name="T70" fmla="*/ 2147483646 w 2622"/>
                      <a:gd name="T71" fmla="*/ 2147483646 h 2622"/>
                      <a:gd name="T72" fmla="*/ 2147483646 w 2622"/>
                      <a:gd name="T73" fmla="*/ 2147483646 h 2622"/>
                      <a:gd name="T74" fmla="*/ 2147483646 w 2622"/>
                      <a:gd name="T75" fmla="*/ 2147483646 h 2622"/>
                      <a:gd name="T76" fmla="*/ 2147483646 w 2622"/>
                      <a:gd name="T77" fmla="*/ 2147483646 h 2622"/>
                      <a:gd name="T78" fmla="*/ 2147483646 w 2622"/>
                      <a:gd name="T79" fmla="*/ 2147483646 h 2622"/>
                      <a:gd name="T80" fmla="*/ 2147483646 w 2622"/>
                      <a:gd name="T81" fmla="*/ 2147483646 h 2622"/>
                      <a:gd name="T82" fmla="*/ 2147483646 w 2622"/>
                      <a:gd name="T83" fmla="*/ 2147483646 h 2622"/>
                      <a:gd name="T84" fmla="*/ 2147483646 w 2622"/>
                      <a:gd name="T85" fmla="*/ 2147483646 h 2622"/>
                      <a:gd name="T86" fmla="*/ 2147483646 w 2622"/>
                      <a:gd name="T87" fmla="*/ 2147483646 h 2622"/>
                      <a:gd name="T88" fmla="*/ 2147483646 w 2622"/>
                      <a:gd name="T89" fmla="*/ 2147483646 h 2622"/>
                      <a:gd name="T90" fmla="*/ 2147483646 w 2622"/>
                      <a:gd name="T91" fmla="*/ 2147483646 h 2622"/>
                      <a:gd name="T92" fmla="*/ 2147483646 w 2622"/>
                      <a:gd name="T93" fmla="*/ 2147483646 h 2622"/>
                      <a:gd name="T94" fmla="*/ 2147483646 w 2622"/>
                      <a:gd name="T95" fmla="*/ 2147483646 h 2622"/>
                      <a:gd name="T96" fmla="*/ 2147483646 w 2622"/>
                      <a:gd name="T97" fmla="*/ 2147483646 h 2622"/>
                      <a:gd name="T98" fmla="*/ 2147483646 w 2622"/>
                      <a:gd name="T99" fmla="*/ 2147483646 h 2622"/>
                      <a:gd name="T100" fmla="*/ 2147483646 w 2622"/>
                      <a:gd name="T101" fmla="*/ 2147483646 h 2622"/>
                      <a:gd name="T102" fmla="*/ 2147483646 w 2622"/>
                      <a:gd name="T103" fmla="*/ 2147483646 h 2622"/>
                      <a:gd name="T104" fmla="*/ 2147483646 w 2622"/>
                      <a:gd name="T105" fmla="*/ 2147483646 h 2622"/>
                      <a:gd name="T106" fmla="*/ 2147483646 w 2622"/>
                      <a:gd name="T107" fmla="*/ 2147483646 h 262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622"/>
                      <a:gd name="T163" fmla="*/ 0 h 2622"/>
                      <a:gd name="T164" fmla="*/ 2622 w 2622"/>
                      <a:gd name="T165" fmla="*/ 2622 h 262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622" h="2622">
                        <a:moveTo>
                          <a:pt x="2622" y="1382"/>
                        </a:moveTo>
                        <a:lnTo>
                          <a:pt x="2622" y="1240"/>
                        </a:lnTo>
                        <a:lnTo>
                          <a:pt x="2520" y="1240"/>
                        </a:lnTo>
                        <a:lnTo>
                          <a:pt x="2516" y="1196"/>
                        </a:lnTo>
                        <a:lnTo>
                          <a:pt x="2512" y="1152"/>
                        </a:lnTo>
                        <a:lnTo>
                          <a:pt x="2506" y="1110"/>
                        </a:lnTo>
                        <a:lnTo>
                          <a:pt x="2498" y="1068"/>
                        </a:lnTo>
                        <a:lnTo>
                          <a:pt x="2596" y="1040"/>
                        </a:lnTo>
                        <a:lnTo>
                          <a:pt x="2560" y="904"/>
                        </a:lnTo>
                        <a:lnTo>
                          <a:pt x="2460" y="930"/>
                        </a:lnTo>
                        <a:lnTo>
                          <a:pt x="2446" y="888"/>
                        </a:lnTo>
                        <a:lnTo>
                          <a:pt x="2430" y="848"/>
                        </a:lnTo>
                        <a:lnTo>
                          <a:pt x="2412" y="808"/>
                        </a:lnTo>
                        <a:lnTo>
                          <a:pt x="2394" y="768"/>
                        </a:lnTo>
                        <a:lnTo>
                          <a:pt x="2482" y="718"/>
                        </a:lnTo>
                        <a:lnTo>
                          <a:pt x="2412" y="594"/>
                        </a:lnTo>
                        <a:lnTo>
                          <a:pt x="2322" y="646"/>
                        </a:lnTo>
                        <a:lnTo>
                          <a:pt x="2298" y="610"/>
                        </a:lnTo>
                        <a:lnTo>
                          <a:pt x="2272" y="574"/>
                        </a:lnTo>
                        <a:lnTo>
                          <a:pt x="2244" y="540"/>
                        </a:lnTo>
                        <a:lnTo>
                          <a:pt x="2216" y="508"/>
                        </a:lnTo>
                        <a:lnTo>
                          <a:pt x="2290" y="434"/>
                        </a:lnTo>
                        <a:lnTo>
                          <a:pt x="2188" y="334"/>
                        </a:lnTo>
                        <a:lnTo>
                          <a:pt x="2116" y="406"/>
                        </a:lnTo>
                        <a:lnTo>
                          <a:pt x="2082" y="378"/>
                        </a:lnTo>
                        <a:lnTo>
                          <a:pt x="2048" y="352"/>
                        </a:lnTo>
                        <a:lnTo>
                          <a:pt x="2014" y="326"/>
                        </a:lnTo>
                        <a:lnTo>
                          <a:pt x="1978" y="300"/>
                        </a:lnTo>
                        <a:lnTo>
                          <a:pt x="2028" y="212"/>
                        </a:lnTo>
                        <a:lnTo>
                          <a:pt x="1906" y="140"/>
                        </a:lnTo>
                        <a:lnTo>
                          <a:pt x="1854" y="230"/>
                        </a:lnTo>
                        <a:lnTo>
                          <a:pt x="1816" y="210"/>
                        </a:lnTo>
                        <a:lnTo>
                          <a:pt x="1776" y="194"/>
                        </a:lnTo>
                        <a:lnTo>
                          <a:pt x="1734" y="178"/>
                        </a:lnTo>
                        <a:lnTo>
                          <a:pt x="1694" y="162"/>
                        </a:lnTo>
                        <a:lnTo>
                          <a:pt x="1720" y="64"/>
                        </a:lnTo>
                        <a:lnTo>
                          <a:pt x="1582" y="26"/>
                        </a:lnTo>
                        <a:lnTo>
                          <a:pt x="1556" y="126"/>
                        </a:lnTo>
                        <a:lnTo>
                          <a:pt x="1514" y="118"/>
                        </a:lnTo>
                        <a:lnTo>
                          <a:pt x="1470" y="112"/>
                        </a:lnTo>
                        <a:lnTo>
                          <a:pt x="1426" y="106"/>
                        </a:lnTo>
                        <a:lnTo>
                          <a:pt x="1382" y="104"/>
                        </a:lnTo>
                        <a:lnTo>
                          <a:pt x="1382" y="0"/>
                        </a:lnTo>
                        <a:lnTo>
                          <a:pt x="1240" y="0"/>
                        </a:lnTo>
                        <a:lnTo>
                          <a:pt x="1240" y="104"/>
                        </a:lnTo>
                        <a:lnTo>
                          <a:pt x="1196" y="106"/>
                        </a:lnTo>
                        <a:lnTo>
                          <a:pt x="1154" y="112"/>
                        </a:lnTo>
                        <a:lnTo>
                          <a:pt x="1110" y="118"/>
                        </a:lnTo>
                        <a:lnTo>
                          <a:pt x="1068" y="126"/>
                        </a:lnTo>
                        <a:lnTo>
                          <a:pt x="1042" y="26"/>
                        </a:lnTo>
                        <a:lnTo>
                          <a:pt x="904" y="64"/>
                        </a:lnTo>
                        <a:lnTo>
                          <a:pt x="930" y="162"/>
                        </a:lnTo>
                        <a:lnTo>
                          <a:pt x="890" y="178"/>
                        </a:lnTo>
                        <a:lnTo>
                          <a:pt x="848" y="194"/>
                        </a:lnTo>
                        <a:lnTo>
                          <a:pt x="808" y="210"/>
                        </a:lnTo>
                        <a:lnTo>
                          <a:pt x="770" y="230"/>
                        </a:lnTo>
                        <a:lnTo>
                          <a:pt x="718" y="140"/>
                        </a:lnTo>
                        <a:lnTo>
                          <a:pt x="594" y="212"/>
                        </a:lnTo>
                        <a:lnTo>
                          <a:pt x="646" y="300"/>
                        </a:lnTo>
                        <a:lnTo>
                          <a:pt x="610" y="326"/>
                        </a:lnTo>
                        <a:lnTo>
                          <a:pt x="576" y="352"/>
                        </a:lnTo>
                        <a:lnTo>
                          <a:pt x="542" y="378"/>
                        </a:lnTo>
                        <a:lnTo>
                          <a:pt x="508" y="406"/>
                        </a:lnTo>
                        <a:lnTo>
                          <a:pt x="436" y="334"/>
                        </a:lnTo>
                        <a:lnTo>
                          <a:pt x="334" y="434"/>
                        </a:lnTo>
                        <a:lnTo>
                          <a:pt x="408" y="508"/>
                        </a:lnTo>
                        <a:lnTo>
                          <a:pt x="378" y="540"/>
                        </a:lnTo>
                        <a:lnTo>
                          <a:pt x="352" y="574"/>
                        </a:lnTo>
                        <a:lnTo>
                          <a:pt x="326" y="610"/>
                        </a:lnTo>
                        <a:lnTo>
                          <a:pt x="302" y="646"/>
                        </a:lnTo>
                        <a:lnTo>
                          <a:pt x="212" y="594"/>
                        </a:lnTo>
                        <a:lnTo>
                          <a:pt x="140" y="718"/>
                        </a:lnTo>
                        <a:lnTo>
                          <a:pt x="230" y="768"/>
                        </a:lnTo>
                        <a:lnTo>
                          <a:pt x="212" y="808"/>
                        </a:lnTo>
                        <a:lnTo>
                          <a:pt x="194" y="848"/>
                        </a:lnTo>
                        <a:lnTo>
                          <a:pt x="178" y="888"/>
                        </a:lnTo>
                        <a:lnTo>
                          <a:pt x="164" y="930"/>
                        </a:lnTo>
                        <a:lnTo>
                          <a:pt x="64" y="904"/>
                        </a:lnTo>
                        <a:lnTo>
                          <a:pt x="26" y="1040"/>
                        </a:lnTo>
                        <a:lnTo>
                          <a:pt x="126" y="1068"/>
                        </a:lnTo>
                        <a:lnTo>
                          <a:pt x="118" y="1110"/>
                        </a:lnTo>
                        <a:lnTo>
                          <a:pt x="112" y="1152"/>
                        </a:lnTo>
                        <a:lnTo>
                          <a:pt x="108" y="1196"/>
                        </a:lnTo>
                        <a:lnTo>
                          <a:pt x="104" y="1240"/>
                        </a:lnTo>
                        <a:lnTo>
                          <a:pt x="0" y="1240"/>
                        </a:lnTo>
                        <a:lnTo>
                          <a:pt x="0" y="1382"/>
                        </a:lnTo>
                        <a:lnTo>
                          <a:pt x="104" y="1382"/>
                        </a:lnTo>
                        <a:lnTo>
                          <a:pt x="108" y="1426"/>
                        </a:lnTo>
                        <a:lnTo>
                          <a:pt x="112" y="1470"/>
                        </a:lnTo>
                        <a:lnTo>
                          <a:pt x="118" y="1512"/>
                        </a:lnTo>
                        <a:lnTo>
                          <a:pt x="126" y="1556"/>
                        </a:lnTo>
                        <a:lnTo>
                          <a:pt x="26" y="1582"/>
                        </a:lnTo>
                        <a:lnTo>
                          <a:pt x="64" y="1720"/>
                        </a:lnTo>
                        <a:lnTo>
                          <a:pt x="164" y="1692"/>
                        </a:lnTo>
                        <a:lnTo>
                          <a:pt x="178" y="1734"/>
                        </a:lnTo>
                        <a:lnTo>
                          <a:pt x="194" y="1774"/>
                        </a:lnTo>
                        <a:lnTo>
                          <a:pt x="212" y="1814"/>
                        </a:lnTo>
                        <a:lnTo>
                          <a:pt x="230" y="1854"/>
                        </a:lnTo>
                        <a:lnTo>
                          <a:pt x="140" y="1906"/>
                        </a:lnTo>
                        <a:lnTo>
                          <a:pt x="212" y="2028"/>
                        </a:lnTo>
                        <a:lnTo>
                          <a:pt x="302" y="1978"/>
                        </a:lnTo>
                        <a:lnTo>
                          <a:pt x="326" y="2014"/>
                        </a:lnTo>
                        <a:lnTo>
                          <a:pt x="352" y="2048"/>
                        </a:lnTo>
                        <a:lnTo>
                          <a:pt x="378" y="2082"/>
                        </a:lnTo>
                        <a:lnTo>
                          <a:pt x="408" y="2116"/>
                        </a:lnTo>
                        <a:lnTo>
                          <a:pt x="334" y="2188"/>
                        </a:lnTo>
                        <a:lnTo>
                          <a:pt x="436" y="2288"/>
                        </a:lnTo>
                        <a:lnTo>
                          <a:pt x="508" y="2216"/>
                        </a:lnTo>
                        <a:lnTo>
                          <a:pt x="542" y="2244"/>
                        </a:lnTo>
                        <a:lnTo>
                          <a:pt x="576" y="2272"/>
                        </a:lnTo>
                        <a:lnTo>
                          <a:pt x="610" y="2298"/>
                        </a:lnTo>
                        <a:lnTo>
                          <a:pt x="646" y="2322"/>
                        </a:lnTo>
                        <a:lnTo>
                          <a:pt x="594" y="2412"/>
                        </a:lnTo>
                        <a:lnTo>
                          <a:pt x="718" y="2482"/>
                        </a:lnTo>
                        <a:lnTo>
                          <a:pt x="770" y="2394"/>
                        </a:lnTo>
                        <a:lnTo>
                          <a:pt x="808" y="2412"/>
                        </a:lnTo>
                        <a:lnTo>
                          <a:pt x="848" y="2430"/>
                        </a:lnTo>
                        <a:lnTo>
                          <a:pt x="890" y="2446"/>
                        </a:lnTo>
                        <a:lnTo>
                          <a:pt x="930" y="2460"/>
                        </a:lnTo>
                        <a:lnTo>
                          <a:pt x="904" y="2560"/>
                        </a:lnTo>
                        <a:lnTo>
                          <a:pt x="1042" y="2596"/>
                        </a:lnTo>
                        <a:lnTo>
                          <a:pt x="1068" y="2498"/>
                        </a:lnTo>
                        <a:lnTo>
                          <a:pt x="1110" y="2504"/>
                        </a:lnTo>
                        <a:lnTo>
                          <a:pt x="1154" y="2512"/>
                        </a:lnTo>
                        <a:lnTo>
                          <a:pt x="1196" y="2516"/>
                        </a:lnTo>
                        <a:lnTo>
                          <a:pt x="1240" y="2520"/>
                        </a:lnTo>
                        <a:lnTo>
                          <a:pt x="1240" y="2622"/>
                        </a:lnTo>
                        <a:lnTo>
                          <a:pt x="1382" y="2622"/>
                        </a:lnTo>
                        <a:lnTo>
                          <a:pt x="1382" y="2520"/>
                        </a:lnTo>
                        <a:lnTo>
                          <a:pt x="1426" y="2516"/>
                        </a:lnTo>
                        <a:lnTo>
                          <a:pt x="1470" y="2512"/>
                        </a:lnTo>
                        <a:lnTo>
                          <a:pt x="1514" y="2504"/>
                        </a:lnTo>
                        <a:lnTo>
                          <a:pt x="1556" y="2498"/>
                        </a:lnTo>
                        <a:lnTo>
                          <a:pt x="1582" y="2596"/>
                        </a:lnTo>
                        <a:lnTo>
                          <a:pt x="1720" y="2560"/>
                        </a:lnTo>
                        <a:lnTo>
                          <a:pt x="1694" y="2460"/>
                        </a:lnTo>
                        <a:lnTo>
                          <a:pt x="1734" y="2446"/>
                        </a:lnTo>
                        <a:lnTo>
                          <a:pt x="1776" y="2430"/>
                        </a:lnTo>
                        <a:lnTo>
                          <a:pt x="1816" y="2412"/>
                        </a:lnTo>
                        <a:lnTo>
                          <a:pt x="1854" y="2394"/>
                        </a:lnTo>
                        <a:lnTo>
                          <a:pt x="1906" y="2482"/>
                        </a:lnTo>
                        <a:lnTo>
                          <a:pt x="2028" y="2412"/>
                        </a:lnTo>
                        <a:lnTo>
                          <a:pt x="1978" y="2322"/>
                        </a:lnTo>
                        <a:lnTo>
                          <a:pt x="2014" y="2298"/>
                        </a:lnTo>
                        <a:lnTo>
                          <a:pt x="2048" y="2272"/>
                        </a:lnTo>
                        <a:lnTo>
                          <a:pt x="2082" y="2244"/>
                        </a:lnTo>
                        <a:lnTo>
                          <a:pt x="2116" y="2216"/>
                        </a:lnTo>
                        <a:lnTo>
                          <a:pt x="2188" y="2288"/>
                        </a:lnTo>
                        <a:lnTo>
                          <a:pt x="2290" y="2188"/>
                        </a:lnTo>
                        <a:lnTo>
                          <a:pt x="2216" y="2116"/>
                        </a:lnTo>
                        <a:lnTo>
                          <a:pt x="2244" y="2082"/>
                        </a:lnTo>
                        <a:lnTo>
                          <a:pt x="2272" y="2048"/>
                        </a:lnTo>
                        <a:lnTo>
                          <a:pt x="2298" y="2014"/>
                        </a:lnTo>
                        <a:lnTo>
                          <a:pt x="2322" y="1978"/>
                        </a:lnTo>
                        <a:lnTo>
                          <a:pt x="2412" y="2028"/>
                        </a:lnTo>
                        <a:lnTo>
                          <a:pt x="2482" y="1906"/>
                        </a:lnTo>
                        <a:lnTo>
                          <a:pt x="2394" y="1854"/>
                        </a:lnTo>
                        <a:lnTo>
                          <a:pt x="2412" y="1814"/>
                        </a:lnTo>
                        <a:lnTo>
                          <a:pt x="2430" y="1774"/>
                        </a:lnTo>
                        <a:lnTo>
                          <a:pt x="2446" y="1734"/>
                        </a:lnTo>
                        <a:lnTo>
                          <a:pt x="2460" y="1692"/>
                        </a:lnTo>
                        <a:lnTo>
                          <a:pt x="2560" y="1720"/>
                        </a:lnTo>
                        <a:lnTo>
                          <a:pt x="2596" y="1582"/>
                        </a:lnTo>
                        <a:lnTo>
                          <a:pt x="2498" y="1556"/>
                        </a:lnTo>
                        <a:lnTo>
                          <a:pt x="2506" y="1512"/>
                        </a:lnTo>
                        <a:lnTo>
                          <a:pt x="2512" y="1470"/>
                        </a:lnTo>
                        <a:lnTo>
                          <a:pt x="2516" y="1426"/>
                        </a:lnTo>
                        <a:lnTo>
                          <a:pt x="2520" y="1382"/>
                        </a:lnTo>
                        <a:lnTo>
                          <a:pt x="2622" y="1382"/>
                        </a:lnTo>
                        <a:close/>
                        <a:moveTo>
                          <a:pt x="1312" y="2420"/>
                        </a:moveTo>
                        <a:lnTo>
                          <a:pt x="1312" y="2420"/>
                        </a:lnTo>
                        <a:lnTo>
                          <a:pt x="1254" y="2420"/>
                        </a:lnTo>
                        <a:lnTo>
                          <a:pt x="1198" y="2416"/>
                        </a:lnTo>
                        <a:lnTo>
                          <a:pt x="1142" y="2408"/>
                        </a:lnTo>
                        <a:lnTo>
                          <a:pt x="1088" y="2398"/>
                        </a:lnTo>
                        <a:lnTo>
                          <a:pt x="1034" y="2386"/>
                        </a:lnTo>
                        <a:lnTo>
                          <a:pt x="982" y="2370"/>
                        </a:lnTo>
                        <a:lnTo>
                          <a:pt x="930" y="2354"/>
                        </a:lnTo>
                        <a:lnTo>
                          <a:pt x="880" y="2334"/>
                        </a:lnTo>
                        <a:lnTo>
                          <a:pt x="830" y="2312"/>
                        </a:lnTo>
                        <a:lnTo>
                          <a:pt x="782" y="2286"/>
                        </a:lnTo>
                        <a:lnTo>
                          <a:pt x="736" y="2260"/>
                        </a:lnTo>
                        <a:lnTo>
                          <a:pt x="692" y="2232"/>
                        </a:lnTo>
                        <a:lnTo>
                          <a:pt x="648" y="2200"/>
                        </a:lnTo>
                        <a:lnTo>
                          <a:pt x="606" y="2168"/>
                        </a:lnTo>
                        <a:lnTo>
                          <a:pt x="566" y="2132"/>
                        </a:lnTo>
                        <a:lnTo>
                          <a:pt x="528" y="2096"/>
                        </a:lnTo>
                        <a:lnTo>
                          <a:pt x="490" y="2058"/>
                        </a:lnTo>
                        <a:lnTo>
                          <a:pt x="456" y="2018"/>
                        </a:lnTo>
                        <a:lnTo>
                          <a:pt x="422" y="1976"/>
                        </a:lnTo>
                        <a:lnTo>
                          <a:pt x="392" y="1932"/>
                        </a:lnTo>
                        <a:lnTo>
                          <a:pt x="362" y="1886"/>
                        </a:lnTo>
                        <a:lnTo>
                          <a:pt x="336" y="1840"/>
                        </a:lnTo>
                        <a:lnTo>
                          <a:pt x="312" y="1792"/>
                        </a:lnTo>
                        <a:lnTo>
                          <a:pt x="290" y="1744"/>
                        </a:lnTo>
                        <a:lnTo>
                          <a:pt x="270" y="1692"/>
                        </a:lnTo>
                        <a:lnTo>
                          <a:pt x="252" y="1642"/>
                        </a:lnTo>
                        <a:lnTo>
                          <a:pt x="238" y="1588"/>
                        </a:lnTo>
                        <a:lnTo>
                          <a:pt x="224" y="1534"/>
                        </a:lnTo>
                        <a:lnTo>
                          <a:pt x="216" y="1480"/>
                        </a:lnTo>
                        <a:lnTo>
                          <a:pt x="208" y="1424"/>
                        </a:lnTo>
                        <a:lnTo>
                          <a:pt x="204" y="1368"/>
                        </a:lnTo>
                        <a:lnTo>
                          <a:pt x="202" y="1312"/>
                        </a:lnTo>
                        <a:lnTo>
                          <a:pt x="204" y="1254"/>
                        </a:lnTo>
                        <a:lnTo>
                          <a:pt x="208" y="1198"/>
                        </a:lnTo>
                        <a:lnTo>
                          <a:pt x="216" y="1142"/>
                        </a:lnTo>
                        <a:lnTo>
                          <a:pt x="224" y="1088"/>
                        </a:lnTo>
                        <a:lnTo>
                          <a:pt x="238" y="1034"/>
                        </a:lnTo>
                        <a:lnTo>
                          <a:pt x="252" y="982"/>
                        </a:lnTo>
                        <a:lnTo>
                          <a:pt x="270" y="930"/>
                        </a:lnTo>
                        <a:lnTo>
                          <a:pt x="290" y="880"/>
                        </a:lnTo>
                        <a:lnTo>
                          <a:pt x="312" y="830"/>
                        </a:lnTo>
                        <a:lnTo>
                          <a:pt x="336" y="782"/>
                        </a:lnTo>
                        <a:lnTo>
                          <a:pt x="362" y="736"/>
                        </a:lnTo>
                        <a:lnTo>
                          <a:pt x="392" y="692"/>
                        </a:lnTo>
                        <a:lnTo>
                          <a:pt x="422" y="648"/>
                        </a:lnTo>
                        <a:lnTo>
                          <a:pt x="456" y="606"/>
                        </a:lnTo>
                        <a:lnTo>
                          <a:pt x="490" y="566"/>
                        </a:lnTo>
                        <a:lnTo>
                          <a:pt x="528" y="526"/>
                        </a:lnTo>
                        <a:lnTo>
                          <a:pt x="566" y="490"/>
                        </a:lnTo>
                        <a:lnTo>
                          <a:pt x="606" y="456"/>
                        </a:lnTo>
                        <a:lnTo>
                          <a:pt x="648" y="422"/>
                        </a:lnTo>
                        <a:lnTo>
                          <a:pt x="692" y="392"/>
                        </a:lnTo>
                        <a:lnTo>
                          <a:pt x="736" y="362"/>
                        </a:lnTo>
                        <a:lnTo>
                          <a:pt x="782" y="336"/>
                        </a:lnTo>
                        <a:lnTo>
                          <a:pt x="830" y="312"/>
                        </a:lnTo>
                        <a:lnTo>
                          <a:pt x="880" y="290"/>
                        </a:lnTo>
                        <a:lnTo>
                          <a:pt x="930" y="270"/>
                        </a:lnTo>
                        <a:lnTo>
                          <a:pt x="982" y="252"/>
                        </a:lnTo>
                        <a:lnTo>
                          <a:pt x="1034" y="236"/>
                        </a:lnTo>
                        <a:lnTo>
                          <a:pt x="1088" y="224"/>
                        </a:lnTo>
                        <a:lnTo>
                          <a:pt x="1142" y="214"/>
                        </a:lnTo>
                        <a:lnTo>
                          <a:pt x="1198" y="208"/>
                        </a:lnTo>
                        <a:lnTo>
                          <a:pt x="1254" y="204"/>
                        </a:lnTo>
                        <a:lnTo>
                          <a:pt x="1312" y="202"/>
                        </a:lnTo>
                        <a:lnTo>
                          <a:pt x="1368" y="204"/>
                        </a:lnTo>
                        <a:lnTo>
                          <a:pt x="1426" y="208"/>
                        </a:lnTo>
                        <a:lnTo>
                          <a:pt x="1480" y="214"/>
                        </a:lnTo>
                        <a:lnTo>
                          <a:pt x="1536" y="224"/>
                        </a:lnTo>
                        <a:lnTo>
                          <a:pt x="1588" y="236"/>
                        </a:lnTo>
                        <a:lnTo>
                          <a:pt x="1642" y="252"/>
                        </a:lnTo>
                        <a:lnTo>
                          <a:pt x="1694" y="270"/>
                        </a:lnTo>
                        <a:lnTo>
                          <a:pt x="1744" y="290"/>
                        </a:lnTo>
                        <a:lnTo>
                          <a:pt x="1792" y="312"/>
                        </a:lnTo>
                        <a:lnTo>
                          <a:pt x="1840" y="336"/>
                        </a:lnTo>
                        <a:lnTo>
                          <a:pt x="1886" y="362"/>
                        </a:lnTo>
                        <a:lnTo>
                          <a:pt x="1932" y="392"/>
                        </a:lnTo>
                        <a:lnTo>
                          <a:pt x="1976" y="422"/>
                        </a:lnTo>
                        <a:lnTo>
                          <a:pt x="2018" y="456"/>
                        </a:lnTo>
                        <a:lnTo>
                          <a:pt x="2058" y="490"/>
                        </a:lnTo>
                        <a:lnTo>
                          <a:pt x="2096" y="526"/>
                        </a:lnTo>
                        <a:lnTo>
                          <a:pt x="2132" y="566"/>
                        </a:lnTo>
                        <a:lnTo>
                          <a:pt x="2168" y="606"/>
                        </a:lnTo>
                        <a:lnTo>
                          <a:pt x="2200" y="648"/>
                        </a:lnTo>
                        <a:lnTo>
                          <a:pt x="2232" y="692"/>
                        </a:lnTo>
                        <a:lnTo>
                          <a:pt x="2260" y="736"/>
                        </a:lnTo>
                        <a:lnTo>
                          <a:pt x="2288" y="782"/>
                        </a:lnTo>
                        <a:lnTo>
                          <a:pt x="2312" y="830"/>
                        </a:lnTo>
                        <a:lnTo>
                          <a:pt x="2334" y="880"/>
                        </a:lnTo>
                        <a:lnTo>
                          <a:pt x="2354" y="930"/>
                        </a:lnTo>
                        <a:lnTo>
                          <a:pt x="2372" y="982"/>
                        </a:lnTo>
                        <a:lnTo>
                          <a:pt x="2386" y="1034"/>
                        </a:lnTo>
                        <a:lnTo>
                          <a:pt x="2398" y="1088"/>
                        </a:lnTo>
                        <a:lnTo>
                          <a:pt x="2408" y="1142"/>
                        </a:lnTo>
                        <a:lnTo>
                          <a:pt x="2416" y="1198"/>
                        </a:lnTo>
                        <a:lnTo>
                          <a:pt x="2420" y="1254"/>
                        </a:lnTo>
                        <a:lnTo>
                          <a:pt x="2422" y="1312"/>
                        </a:lnTo>
                        <a:lnTo>
                          <a:pt x="2420" y="1368"/>
                        </a:lnTo>
                        <a:lnTo>
                          <a:pt x="2416" y="1424"/>
                        </a:lnTo>
                        <a:lnTo>
                          <a:pt x="2408" y="1480"/>
                        </a:lnTo>
                        <a:lnTo>
                          <a:pt x="2398" y="1534"/>
                        </a:lnTo>
                        <a:lnTo>
                          <a:pt x="2386" y="1588"/>
                        </a:lnTo>
                        <a:lnTo>
                          <a:pt x="2372" y="1642"/>
                        </a:lnTo>
                        <a:lnTo>
                          <a:pt x="2354" y="1692"/>
                        </a:lnTo>
                        <a:lnTo>
                          <a:pt x="2334" y="1744"/>
                        </a:lnTo>
                        <a:lnTo>
                          <a:pt x="2312" y="1792"/>
                        </a:lnTo>
                        <a:lnTo>
                          <a:pt x="2288" y="1840"/>
                        </a:lnTo>
                        <a:lnTo>
                          <a:pt x="2260" y="1886"/>
                        </a:lnTo>
                        <a:lnTo>
                          <a:pt x="2232" y="1932"/>
                        </a:lnTo>
                        <a:lnTo>
                          <a:pt x="2200" y="1976"/>
                        </a:lnTo>
                        <a:lnTo>
                          <a:pt x="2168" y="2018"/>
                        </a:lnTo>
                        <a:lnTo>
                          <a:pt x="2132" y="2058"/>
                        </a:lnTo>
                        <a:lnTo>
                          <a:pt x="2096" y="2096"/>
                        </a:lnTo>
                        <a:lnTo>
                          <a:pt x="2058" y="2132"/>
                        </a:lnTo>
                        <a:lnTo>
                          <a:pt x="2018" y="2168"/>
                        </a:lnTo>
                        <a:lnTo>
                          <a:pt x="1976" y="2200"/>
                        </a:lnTo>
                        <a:lnTo>
                          <a:pt x="1932" y="2232"/>
                        </a:lnTo>
                        <a:lnTo>
                          <a:pt x="1886" y="2260"/>
                        </a:lnTo>
                        <a:lnTo>
                          <a:pt x="1840" y="2286"/>
                        </a:lnTo>
                        <a:lnTo>
                          <a:pt x="1792" y="2312"/>
                        </a:lnTo>
                        <a:lnTo>
                          <a:pt x="1744" y="2334"/>
                        </a:lnTo>
                        <a:lnTo>
                          <a:pt x="1694" y="2354"/>
                        </a:lnTo>
                        <a:lnTo>
                          <a:pt x="1642" y="2370"/>
                        </a:lnTo>
                        <a:lnTo>
                          <a:pt x="1588" y="2386"/>
                        </a:lnTo>
                        <a:lnTo>
                          <a:pt x="1536" y="2398"/>
                        </a:lnTo>
                        <a:lnTo>
                          <a:pt x="1480" y="2408"/>
                        </a:lnTo>
                        <a:lnTo>
                          <a:pt x="1426" y="2416"/>
                        </a:lnTo>
                        <a:lnTo>
                          <a:pt x="1368" y="2420"/>
                        </a:lnTo>
                        <a:lnTo>
                          <a:pt x="1312" y="2420"/>
                        </a:lnTo>
                        <a:close/>
                      </a:path>
                    </a:pathLst>
                  </a:custGeom>
                  <a:solidFill>
                    <a:schemeClr val="tx2">
                      <a:alpha val="79999"/>
                    </a:schemeClr>
                  </a:solidFill>
                  <a:ln>
                    <a:noFill/>
                  </a:ln>
                  <a:extLst>
                    <a:ext uri="{91240B29-F687-4F45-9708-019B960494DF}">
                      <a14:hiddenLine xmlns:a14="http://schemas.microsoft.com/office/drawing/2010/main" w="19050" cap="rnd">
                        <a:solidFill>
                          <a:srgbClr val="000000"/>
                        </a:solidFill>
                        <a:prstDash val="sysDot"/>
                        <a:round/>
                        <a:headEnd/>
                        <a:tailEnd/>
                      </a14:hiddenLine>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000000"/>
                      </a:solidFill>
                      <a:effectLst/>
                      <a:uLnTx/>
                      <a:uFillTx/>
                      <a:latin typeface="Aa楷体" panose="02000500000000000000" pitchFamily="2" charset="-122"/>
                      <a:ea typeface="Aa楷体" panose="02000500000000000000" pitchFamily="2" charset="-122"/>
                      <a:cs typeface="+mn-cs"/>
                      <a:sym typeface="YRDZST"/>
                    </a:endParaRPr>
                  </a:p>
                </p:txBody>
              </p:sp>
              <p:sp>
                <p:nvSpPr>
                  <p:cNvPr id="20" name="Oval 676">
                    <a:extLst>
                      <a:ext uri="{FF2B5EF4-FFF2-40B4-BE49-F238E27FC236}">
                        <a16:creationId xmlns:a16="http://schemas.microsoft.com/office/drawing/2014/main" id="{9427FEE2-AB64-F764-8778-9C077B287594}"/>
                      </a:ext>
                    </a:extLst>
                  </p:cNvPr>
                  <p:cNvSpPr>
                    <a:spLocks noChangeArrowheads="1"/>
                  </p:cNvSpPr>
                  <p:nvPr/>
                </p:nvSpPr>
                <p:spPr bwMode="auto">
                  <a:xfrm>
                    <a:off x="1307091" y="2016046"/>
                    <a:ext cx="2695576" cy="2693988"/>
                  </a:xfrm>
                  <a:prstGeom prst="ellipse">
                    <a:avLst/>
                  </a:prstGeom>
                  <a:solidFill>
                    <a:schemeClr val="accent2"/>
                  </a:solidFill>
                  <a:ln>
                    <a:noFill/>
                  </a:ln>
                  <a:extLst>
                    <a:ext uri="{91240B29-F687-4F45-9708-019B960494DF}">
                      <a14:hiddenLine xmlns:a14="http://schemas.microsoft.com/office/drawing/2010/main" w="19050" algn="ctr">
                        <a:solidFill>
                          <a:srgbClr val="000000"/>
                        </a:solidFill>
                        <a:round/>
                        <a:headEnd/>
                        <a:tailEnd/>
                      </a14:hiddenLine>
                    </a:ext>
                  </a:extLst>
                </p:spPr>
                <p:txBody>
                  <a:bodyPr wrap="none"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auto" latinLnBrk="1" hangingPunct="1">
                      <a:lnSpc>
                        <a:spcPct val="100000"/>
                      </a:lnSpc>
                      <a:spcBef>
                        <a:spcPct val="0"/>
                      </a:spcBef>
                      <a:spcAft>
                        <a:spcPts val="0"/>
                      </a:spcAft>
                      <a:buClrTx/>
                      <a:buSzTx/>
                      <a:buFontTx/>
                      <a:buNone/>
                      <a:tabLst/>
                      <a:defRPr/>
                    </a:pPr>
                    <a:endParaRPr kumimoji="1" lang="ko-KR" altLang="en-US" sz="1600" b="0" i="0" u="none" strike="noStrike" kern="1200" cap="none" spc="0" normalizeH="0" baseline="0" noProof="0" dirty="0">
                      <a:ln>
                        <a:noFill/>
                      </a:ln>
                      <a:solidFill>
                        <a:srgbClr val="FFFFFF"/>
                      </a:solidFill>
                      <a:effectLst/>
                      <a:uLnTx/>
                      <a:uFillTx/>
                      <a:latin typeface="Aa楷体" panose="02000500000000000000" pitchFamily="2" charset="-122"/>
                      <a:ea typeface="Gulim" panose="020B0600000101010101" pitchFamily="34" charset="-127"/>
                      <a:cs typeface="+mn-cs"/>
                      <a:sym typeface="YRDZST"/>
                    </a:endParaRPr>
                  </a:p>
                </p:txBody>
              </p:sp>
              <p:sp>
                <p:nvSpPr>
                  <p:cNvPr id="21" name="Oval 677">
                    <a:extLst>
                      <a:ext uri="{FF2B5EF4-FFF2-40B4-BE49-F238E27FC236}">
                        <a16:creationId xmlns:a16="http://schemas.microsoft.com/office/drawing/2014/main" id="{75DC784E-E003-7EF1-0AF5-5FF0E9C9AD0E}"/>
                      </a:ext>
                    </a:extLst>
                  </p:cNvPr>
                  <p:cNvSpPr>
                    <a:spLocks noChangeArrowheads="1"/>
                  </p:cNvSpPr>
                  <p:nvPr/>
                </p:nvSpPr>
                <p:spPr bwMode="auto">
                  <a:xfrm>
                    <a:off x="4616125" y="1993449"/>
                    <a:ext cx="1803589" cy="1801847"/>
                  </a:xfrm>
                  <a:prstGeom prst="ellipse">
                    <a:avLst/>
                  </a:prstGeom>
                  <a:solidFill>
                    <a:schemeClr val="accent4"/>
                  </a:solidFill>
                  <a:ln>
                    <a:noFill/>
                  </a:ln>
                  <a:extLst>
                    <a:ext uri="{91240B29-F687-4F45-9708-019B960494DF}">
                      <a14:hiddenLine xmlns:a14="http://schemas.microsoft.com/office/drawing/2010/main" w="19050" algn="ctr">
                        <a:solidFill>
                          <a:srgbClr val="000000"/>
                        </a:solidFill>
                        <a:round/>
                        <a:headEnd/>
                        <a:tailEnd/>
                      </a14:hiddenLine>
                    </a:ext>
                  </a:extLst>
                </p:spPr>
                <p:txBody>
                  <a:bodyPr wrap="none"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1" lang="ko-KR" altLang="en-US" sz="1600" b="0" i="0" u="none" strike="noStrike" kern="1200" cap="none" spc="0" normalizeH="0" baseline="0" noProof="0" dirty="0">
                      <a:ln>
                        <a:noFill/>
                      </a:ln>
                      <a:solidFill>
                        <a:srgbClr val="FFFFFF"/>
                      </a:solidFill>
                      <a:effectLst/>
                      <a:uLnTx/>
                      <a:uFillTx/>
                      <a:latin typeface="Aa楷体" panose="02000500000000000000" pitchFamily="2" charset="-122"/>
                      <a:ea typeface="Gulim" pitchFamily="34" charset="-127"/>
                      <a:cs typeface="+mn-cs"/>
                      <a:sym typeface="YRDZST"/>
                    </a:endParaRPr>
                  </a:p>
                </p:txBody>
              </p:sp>
              <p:sp>
                <p:nvSpPr>
                  <p:cNvPr id="22" name="Freeform 679">
                    <a:extLst>
                      <a:ext uri="{FF2B5EF4-FFF2-40B4-BE49-F238E27FC236}">
                        <a16:creationId xmlns:a16="http://schemas.microsoft.com/office/drawing/2014/main" id="{DBFA3565-419E-E923-205D-B2B30371368C}"/>
                      </a:ext>
                    </a:extLst>
                  </p:cNvPr>
                  <p:cNvSpPr>
                    <a:spLocks noEditPoints="1"/>
                  </p:cNvSpPr>
                  <p:nvPr/>
                </p:nvSpPr>
                <p:spPr bwMode="auto">
                  <a:xfrm rot="-324743">
                    <a:off x="5693353" y="3676571"/>
                    <a:ext cx="2303463" cy="2305050"/>
                  </a:xfrm>
                  <a:custGeom>
                    <a:avLst/>
                    <a:gdLst>
                      <a:gd name="T0" fmla="*/ 2147483646 w 1816"/>
                      <a:gd name="T1" fmla="*/ 2147483646 h 1816"/>
                      <a:gd name="T2" fmla="*/ 2147483646 w 1816"/>
                      <a:gd name="T3" fmla="*/ 2147483646 h 1816"/>
                      <a:gd name="T4" fmla="*/ 2147483646 w 1816"/>
                      <a:gd name="T5" fmla="*/ 2147483646 h 1816"/>
                      <a:gd name="T6" fmla="*/ 2147483646 w 1816"/>
                      <a:gd name="T7" fmla="*/ 2147483646 h 1816"/>
                      <a:gd name="T8" fmla="*/ 2147483646 w 1816"/>
                      <a:gd name="T9" fmla="*/ 2147483646 h 1816"/>
                      <a:gd name="T10" fmla="*/ 2147483646 w 1816"/>
                      <a:gd name="T11" fmla="*/ 2147483646 h 1816"/>
                      <a:gd name="T12" fmla="*/ 2147483646 w 1816"/>
                      <a:gd name="T13" fmla="*/ 2147483646 h 1816"/>
                      <a:gd name="T14" fmla="*/ 2147483646 w 1816"/>
                      <a:gd name="T15" fmla="*/ 2147483646 h 1816"/>
                      <a:gd name="T16" fmla="*/ 2147483646 w 1816"/>
                      <a:gd name="T17" fmla="*/ 2147483646 h 1816"/>
                      <a:gd name="T18" fmla="*/ 2147483646 w 1816"/>
                      <a:gd name="T19" fmla="*/ 2147483646 h 1816"/>
                      <a:gd name="T20" fmla="*/ 2147483646 w 1816"/>
                      <a:gd name="T21" fmla="*/ 2147483646 h 1816"/>
                      <a:gd name="T22" fmla="*/ 2147483646 w 1816"/>
                      <a:gd name="T23" fmla="*/ 2147483646 h 1816"/>
                      <a:gd name="T24" fmla="*/ 0 w 1816"/>
                      <a:gd name="T25" fmla="*/ 2147483646 h 1816"/>
                      <a:gd name="T26" fmla="*/ 2147483646 w 1816"/>
                      <a:gd name="T27" fmla="*/ 2147483646 h 1816"/>
                      <a:gd name="T28" fmla="*/ 2147483646 w 1816"/>
                      <a:gd name="T29" fmla="*/ 2147483646 h 1816"/>
                      <a:gd name="T30" fmla="*/ 2147483646 w 1816"/>
                      <a:gd name="T31" fmla="*/ 2147483646 h 1816"/>
                      <a:gd name="T32" fmla="*/ 2147483646 w 1816"/>
                      <a:gd name="T33" fmla="*/ 2147483646 h 1816"/>
                      <a:gd name="T34" fmla="*/ 2147483646 w 1816"/>
                      <a:gd name="T35" fmla="*/ 2147483646 h 1816"/>
                      <a:gd name="T36" fmla="*/ 2147483646 w 1816"/>
                      <a:gd name="T37" fmla="*/ 2147483646 h 1816"/>
                      <a:gd name="T38" fmla="*/ 2147483646 w 1816"/>
                      <a:gd name="T39" fmla="*/ 2147483646 h 1816"/>
                      <a:gd name="T40" fmla="*/ 2147483646 w 1816"/>
                      <a:gd name="T41" fmla="*/ 2147483646 h 1816"/>
                      <a:gd name="T42" fmla="*/ 2147483646 w 1816"/>
                      <a:gd name="T43" fmla="*/ 2147483646 h 1816"/>
                      <a:gd name="T44" fmla="*/ 2147483646 w 1816"/>
                      <a:gd name="T45" fmla="*/ 2147483646 h 1816"/>
                      <a:gd name="T46" fmla="*/ 2147483646 w 1816"/>
                      <a:gd name="T47" fmla="*/ 2147483646 h 1816"/>
                      <a:gd name="T48" fmla="*/ 2147483646 w 1816"/>
                      <a:gd name="T49" fmla="*/ 2147483646 h 1816"/>
                      <a:gd name="T50" fmla="*/ 2147483646 w 1816"/>
                      <a:gd name="T51" fmla="*/ 2147483646 h 1816"/>
                      <a:gd name="T52" fmla="*/ 2147483646 w 1816"/>
                      <a:gd name="T53" fmla="*/ 2147483646 h 1816"/>
                      <a:gd name="T54" fmla="*/ 2147483646 w 1816"/>
                      <a:gd name="T55" fmla="*/ 2147483646 h 1816"/>
                      <a:gd name="T56" fmla="*/ 2147483646 w 1816"/>
                      <a:gd name="T57" fmla="*/ 2147483646 h 1816"/>
                      <a:gd name="T58" fmla="*/ 2147483646 w 1816"/>
                      <a:gd name="T59" fmla="*/ 2147483646 h 1816"/>
                      <a:gd name="T60" fmla="*/ 2147483646 w 1816"/>
                      <a:gd name="T61" fmla="*/ 2147483646 h 1816"/>
                      <a:gd name="T62" fmla="*/ 2147483646 w 1816"/>
                      <a:gd name="T63" fmla="*/ 2147483646 h 1816"/>
                      <a:gd name="T64" fmla="*/ 2147483646 w 1816"/>
                      <a:gd name="T65" fmla="*/ 2147483646 h 1816"/>
                      <a:gd name="T66" fmla="*/ 2147483646 w 1816"/>
                      <a:gd name="T67" fmla="*/ 2147483646 h 1816"/>
                      <a:gd name="T68" fmla="*/ 2147483646 w 1816"/>
                      <a:gd name="T69" fmla="*/ 2147483646 h 1816"/>
                      <a:gd name="T70" fmla="*/ 2147483646 w 1816"/>
                      <a:gd name="T71" fmla="*/ 2147483646 h 1816"/>
                      <a:gd name="T72" fmla="*/ 2147483646 w 1816"/>
                      <a:gd name="T73" fmla="*/ 2147483646 h 1816"/>
                      <a:gd name="T74" fmla="*/ 2147483646 w 1816"/>
                      <a:gd name="T75" fmla="*/ 2147483646 h 1816"/>
                      <a:gd name="T76" fmla="*/ 2147483646 w 1816"/>
                      <a:gd name="T77" fmla="*/ 2147483646 h 1816"/>
                      <a:gd name="T78" fmla="*/ 2147483646 w 1816"/>
                      <a:gd name="T79" fmla="*/ 2147483646 h 1816"/>
                      <a:gd name="T80" fmla="*/ 2147483646 w 1816"/>
                      <a:gd name="T81" fmla="*/ 2147483646 h 1816"/>
                      <a:gd name="T82" fmla="*/ 2147483646 w 1816"/>
                      <a:gd name="T83" fmla="*/ 2147483646 h 1816"/>
                      <a:gd name="T84" fmla="*/ 2147483646 w 1816"/>
                      <a:gd name="T85" fmla="*/ 2147483646 h 1816"/>
                      <a:gd name="T86" fmla="*/ 2147483646 w 1816"/>
                      <a:gd name="T87" fmla="*/ 2147483646 h 1816"/>
                      <a:gd name="T88" fmla="*/ 2147483646 w 1816"/>
                      <a:gd name="T89" fmla="*/ 2147483646 h 1816"/>
                      <a:gd name="T90" fmla="*/ 2147483646 w 1816"/>
                      <a:gd name="T91" fmla="*/ 2147483646 h 1816"/>
                      <a:gd name="T92" fmla="*/ 2147483646 w 1816"/>
                      <a:gd name="T93" fmla="*/ 2147483646 h 1816"/>
                      <a:gd name="T94" fmla="*/ 2147483646 w 1816"/>
                      <a:gd name="T95" fmla="*/ 2147483646 h 1816"/>
                      <a:gd name="T96" fmla="*/ 2147483646 w 1816"/>
                      <a:gd name="T97" fmla="*/ 2147483646 h 1816"/>
                      <a:gd name="T98" fmla="*/ 2147483646 w 1816"/>
                      <a:gd name="T99" fmla="*/ 2147483646 h 1816"/>
                      <a:gd name="T100" fmla="*/ 2147483646 w 1816"/>
                      <a:gd name="T101" fmla="*/ 2147483646 h 1816"/>
                      <a:gd name="T102" fmla="*/ 2147483646 w 1816"/>
                      <a:gd name="T103" fmla="*/ 2147483646 h 181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816"/>
                      <a:gd name="T157" fmla="*/ 0 h 1816"/>
                      <a:gd name="T158" fmla="*/ 1816 w 1816"/>
                      <a:gd name="T159" fmla="*/ 1816 h 181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816" h="1816">
                        <a:moveTo>
                          <a:pt x="1816" y="978"/>
                        </a:moveTo>
                        <a:lnTo>
                          <a:pt x="1816" y="836"/>
                        </a:lnTo>
                        <a:lnTo>
                          <a:pt x="1710" y="836"/>
                        </a:lnTo>
                        <a:lnTo>
                          <a:pt x="1706" y="792"/>
                        </a:lnTo>
                        <a:lnTo>
                          <a:pt x="1698" y="750"/>
                        </a:lnTo>
                        <a:lnTo>
                          <a:pt x="1688" y="708"/>
                        </a:lnTo>
                        <a:lnTo>
                          <a:pt x="1678" y="666"/>
                        </a:lnTo>
                        <a:lnTo>
                          <a:pt x="1774" y="626"/>
                        </a:lnTo>
                        <a:lnTo>
                          <a:pt x="1718" y="494"/>
                        </a:lnTo>
                        <a:lnTo>
                          <a:pt x="1622" y="534"/>
                        </a:lnTo>
                        <a:lnTo>
                          <a:pt x="1602" y="496"/>
                        </a:lnTo>
                        <a:lnTo>
                          <a:pt x="1578" y="460"/>
                        </a:lnTo>
                        <a:lnTo>
                          <a:pt x="1552" y="424"/>
                        </a:lnTo>
                        <a:lnTo>
                          <a:pt x="1526" y="390"/>
                        </a:lnTo>
                        <a:lnTo>
                          <a:pt x="1600" y="316"/>
                        </a:lnTo>
                        <a:lnTo>
                          <a:pt x="1498" y="216"/>
                        </a:lnTo>
                        <a:lnTo>
                          <a:pt x="1426" y="290"/>
                        </a:lnTo>
                        <a:lnTo>
                          <a:pt x="1392" y="262"/>
                        </a:lnTo>
                        <a:lnTo>
                          <a:pt x="1356" y="236"/>
                        </a:lnTo>
                        <a:lnTo>
                          <a:pt x="1318" y="214"/>
                        </a:lnTo>
                        <a:lnTo>
                          <a:pt x="1280" y="192"/>
                        </a:lnTo>
                        <a:lnTo>
                          <a:pt x="1320" y="96"/>
                        </a:lnTo>
                        <a:lnTo>
                          <a:pt x="1188" y="42"/>
                        </a:lnTo>
                        <a:lnTo>
                          <a:pt x="1150" y="138"/>
                        </a:lnTo>
                        <a:lnTo>
                          <a:pt x="1108" y="126"/>
                        </a:lnTo>
                        <a:lnTo>
                          <a:pt x="1066" y="116"/>
                        </a:lnTo>
                        <a:lnTo>
                          <a:pt x="1022" y="110"/>
                        </a:lnTo>
                        <a:lnTo>
                          <a:pt x="978" y="104"/>
                        </a:lnTo>
                        <a:lnTo>
                          <a:pt x="978" y="0"/>
                        </a:lnTo>
                        <a:lnTo>
                          <a:pt x="836" y="0"/>
                        </a:lnTo>
                        <a:lnTo>
                          <a:pt x="836" y="104"/>
                        </a:lnTo>
                        <a:lnTo>
                          <a:pt x="792" y="110"/>
                        </a:lnTo>
                        <a:lnTo>
                          <a:pt x="750" y="116"/>
                        </a:lnTo>
                        <a:lnTo>
                          <a:pt x="706" y="126"/>
                        </a:lnTo>
                        <a:lnTo>
                          <a:pt x="666" y="138"/>
                        </a:lnTo>
                        <a:lnTo>
                          <a:pt x="626" y="42"/>
                        </a:lnTo>
                        <a:lnTo>
                          <a:pt x="494" y="96"/>
                        </a:lnTo>
                        <a:lnTo>
                          <a:pt x="534" y="192"/>
                        </a:lnTo>
                        <a:lnTo>
                          <a:pt x="496" y="214"/>
                        </a:lnTo>
                        <a:lnTo>
                          <a:pt x="460" y="236"/>
                        </a:lnTo>
                        <a:lnTo>
                          <a:pt x="424" y="262"/>
                        </a:lnTo>
                        <a:lnTo>
                          <a:pt x="390" y="290"/>
                        </a:lnTo>
                        <a:lnTo>
                          <a:pt x="316" y="216"/>
                        </a:lnTo>
                        <a:lnTo>
                          <a:pt x="216" y="316"/>
                        </a:lnTo>
                        <a:lnTo>
                          <a:pt x="288" y="390"/>
                        </a:lnTo>
                        <a:lnTo>
                          <a:pt x="262" y="424"/>
                        </a:lnTo>
                        <a:lnTo>
                          <a:pt x="236" y="460"/>
                        </a:lnTo>
                        <a:lnTo>
                          <a:pt x="214" y="496"/>
                        </a:lnTo>
                        <a:lnTo>
                          <a:pt x="192" y="534"/>
                        </a:lnTo>
                        <a:lnTo>
                          <a:pt x="96" y="494"/>
                        </a:lnTo>
                        <a:lnTo>
                          <a:pt x="42" y="626"/>
                        </a:lnTo>
                        <a:lnTo>
                          <a:pt x="138" y="666"/>
                        </a:lnTo>
                        <a:lnTo>
                          <a:pt x="126" y="708"/>
                        </a:lnTo>
                        <a:lnTo>
                          <a:pt x="116" y="750"/>
                        </a:lnTo>
                        <a:lnTo>
                          <a:pt x="108" y="792"/>
                        </a:lnTo>
                        <a:lnTo>
                          <a:pt x="104" y="836"/>
                        </a:lnTo>
                        <a:lnTo>
                          <a:pt x="0" y="836"/>
                        </a:lnTo>
                        <a:lnTo>
                          <a:pt x="0" y="978"/>
                        </a:lnTo>
                        <a:lnTo>
                          <a:pt x="104" y="978"/>
                        </a:lnTo>
                        <a:lnTo>
                          <a:pt x="108" y="1022"/>
                        </a:lnTo>
                        <a:lnTo>
                          <a:pt x="116" y="1066"/>
                        </a:lnTo>
                        <a:lnTo>
                          <a:pt x="126" y="1108"/>
                        </a:lnTo>
                        <a:lnTo>
                          <a:pt x="138" y="1150"/>
                        </a:lnTo>
                        <a:lnTo>
                          <a:pt x="42" y="1190"/>
                        </a:lnTo>
                        <a:lnTo>
                          <a:pt x="96" y="1320"/>
                        </a:lnTo>
                        <a:lnTo>
                          <a:pt x="192" y="1280"/>
                        </a:lnTo>
                        <a:lnTo>
                          <a:pt x="214" y="1320"/>
                        </a:lnTo>
                        <a:lnTo>
                          <a:pt x="236" y="1356"/>
                        </a:lnTo>
                        <a:lnTo>
                          <a:pt x="262" y="1392"/>
                        </a:lnTo>
                        <a:lnTo>
                          <a:pt x="288" y="1426"/>
                        </a:lnTo>
                        <a:lnTo>
                          <a:pt x="216" y="1500"/>
                        </a:lnTo>
                        <a:lnTo>
                          <a:pt x="316" y="1600"/>
                        </a:lnTo>
                        <a:lnTo>
                          <a:pt x="390" y="1526"/>
                        </a:lnTo>
                        <a:lnTo>
                          <a:pt x="424" y="1554"/>
                        </a:lnTo>
                        <a:lnTo>
                          <a:pt x="460" y="1578"/>
                        </a:lnTo>
                        <a:lnTo>
                          <a:pt x="496" y="1602"/>
                        </a:lnTo>
                        <a:lnTo>
                          <a:pt x="534" y="1622"/>
                        </a:lnTo>
                        <a:lnTo>
                          <a:pt x="494" y="1718"/>
                        </a:lnTo>
                        <a:lnTo>
                          <a:pt x="626" y="1774"/>
                        </a:lnTo>
                        <a:lnTo>
                          <a:pt x="666" y="1678"/>
                        </a:lnTo>
                        <a:lnTo>
                          <a:pt x="706" y="1690"/>
                        </a:lnTo>
                        <a:lnTo>
                          <a:pt x="750" y="1698"/>
                        </a:lnTo>
                        <a:lnTo>
                          <a:pt x="792" y="1706"/>
                        </a:lnTo>
                        <a:lnTo>
                          <a:pt x="836" y="1712"/>
                        </a:lnTo>
                        <a:lnTo>
                          <a:pt x="836" y="1816"/>
                        </a:lnTo>
                        <a:lnTo>
                          <a:pt x="978" y="1816"/>
                        </a:lnTo>
                        <a:lnTo>
                          <a:pt x="978" y="1712"/>
                        </a:lnTo>
                        <a:lnTo>
                          <a:pt x="1022" y="1706"/>
                        </a:lnTo>
                        <a:lnTo>
                          <a:pt x="1066" y="1698"/>
                        </a:lnTo>
                        <a:lnTo>
                          <a:pt x="1108" y="1690"/>
                        </a:lnTo>
                        <a:lnTo>
                          <a:pt x="1150" y="1678"/>
                        </a:lnTo>
                        <a:lnTo>
                          <a:pt x="1188" y="1774"/>
                        </a:lnTo>
                        <a:lnTo>
                          <a:pt x="1320" y="1718"/>
                        </a:lnTo>
                        <a:lnTo>
                          <a:pt x="1280" y="1622"/>
                        </a:lnTo>
                        <a:lnTo>
                          <a:pt x="1318" y="1602"/>
                        </a:lnTo>
                        <a:lnTo>
                          <a:pt x="1356" y="1578"/>
                        </a:lnTo>
                        <a:lnTo>
                          <a:pt x="1392" y="1554"/>
                        </a:lnTo>
                        <a:lnTo>
                          <a:pt x="1426" y="1526"/>
                        </a:lnTo>
                        <a:lnTo>
                          <a:pt x="1498" y="1600"/>
                        </a:lnTo>
                        <a:lnTo>
                          <a:pt x="1600" y="1500"/>
                        </a:lnTo>
                        <a:lnTo>
                          <a:pt x="1526" y="1426"/>
                        </a:lnTo>
                        <a:lnTo>
                          <a:pt x="1552" y="1392"/>
                        </a:lnTo>
                        <a:lnTo>
                          <a:pt x="1578" y="1356"/>
                        </a:lnTo>
                        <a:lnTo>
                          <a:pt x="1602" y="1320"/>
                        </a:lnTo>
                        <a:lnTo>
                          <a:pt x="1622" y="1280"/>
                        </a:lnTo>
                        <a:lnTo>
                          <a:pt x="1718" y="1320"/>
                        </a:lnTo>
                        <a:lnTo>
                          <a:pt x="1774" y="1190"/>
                        </a:lnTo>
                        <a:lnTo>
                          <a:pt x="1678" y="1150"/>
                        </a:lnTo>
                        <a:lnTo>
                          <a:pt x="1688" y="1108"/>
                        </a:lnTo>
                        <a:lnTo>
                          <a:pt x="1698" y="1066"/>
                        </a:lnTo>
                        <a:lnTo>
                          <a:pt x="1706" y="1022"/>
                        </a:lnTo>
                        <a:lnTo>
                          <a:pt x="1710" y="978"/>
                        </a:lnTo>
                        <a:lnTo>
                          <a:pt x="1816" y="978"/>
                        </a:lnTo>
                        <a:close/>
                        <a:moveTo>
                          <a:pt x="908" y="1614"/>
                        </a:moveTo>
                        <a:lnTo>
                          <a:pt x="908" y="1614"/>
                        </a:lnTo>
                        <a:lnTo>
                          <a:pt x="872" y="1612"/>
                        </a:lnTo>
                        <a:lnTo>
                          <a:pt x="836" y="1610"/>
                        </a:lnTo>
                        <a:lnTo>
                          <a:pt x="800" y="1606"/>
                        </a:lnTo>
                        <a:lnTo>
                          <a:pt x="766" y="1600"/>
                        </a:lnTo>
                        <a:lnTo>
                          <a:pt x="730" y="1592"/>
                        </a:lnTo>
                        <a:lnTo>
                          <a:pt x="698" y="1582"/>
                        </a:lnTo>
                        <a:lnTo>
                          <a:pt x="664" y="1570"/>
                        </a:lnTo>
                        <a:lnTo>
                          <a:pt x="632" y="1558"/>
                        </a:lnTo>
                        <a:lnTo>
                          <a:pt x="602" y="1544"/>
                        </a:lnTo>
                        <a:lnTo>
                          <a:pt x="570" y="1528"/>
                        </a:lnTo>
                        <a:lnTo>
                          <a:pt x="542" y="1512"/>
                        </a:lnTo>
                        <a:lnTo>
                          <a:pt x="512" y="1492"/>
                        </a:lnTo>
                        <a:lnTo>
                          <a:pt x="484" y="1474"/>
                        </a:lnTo>
                        <a:lnTo>
                          <a:pt x="458" y="1452"/>
                        </a:lnTo>
                        <a:lnTo>
                          <a:pt x="432" y="1430"/>
                        </a:lnTo>
                        <a:lnTo>
                          <a:pt x="408" y="1406"/>
                        </a:lnTo>
                        <a:lnTo>
                          <a:pt x="384" y="1382"/>
                        </a:lnTo>
                        <a:lnTo>
                          <a:pt x="362" y="1356"/>
                        </a:lnTo>
                        <a:lnTo>
                          <a:pt x="342" y="1330"/>
                        </a:lnTo>
                        <a:lnTo>
                          <a:pt x="322" y="1302"/>
                        </a:lnTo>
                        <a:lnTo>
                          <a:pt x="304" y="1274"/>
                        </a:lnTo>
                        <a:lnTo>
                          <a:pt x="286" y="1244"/>
                        </a:lnTo>
                        <a:lnTo>
                          <a:pt x="272" y="1214"/>
                        </a:lnTo>
                        <a:lnTo>
                          <a:pt x="256" y="1182"/>
                        </a:lnTo>
                        <a:lnTo>
                          <a:pt x="244" y="1150"/>
                        </a:lnTo>
                        <a:lnTo>
                          <a:pt x="234" y="1118"/>
                        </a:lnTo>
                        <a:lnTo>
                          <a:pt x="224" y="1084"/>
                        </a:lnTo>
                        <a:lnTo>
                          <a:pt x="216" y="1050"/>
                        </a:lnTo>
                        <a:lnTo>
                          <a:pt x="210" y="1016"/>
                        </a:lnTo>
                        <a:lnTo>
                          <a:pt x="206" y="980"/>
                        </a:lnTo>
                        <a:lnTo>
                          <a:pt x="202" y="944"/>
                        </a:lnTo>
                        <a:lnTo>
                          <a:pt x="202" y="908"/>
                        </a:lnTo>
                        <a:lnTo>
                          <a:pt x="202" y="872"/>
                        </a:lnTo>
                        <a:lnTo>
                          <a:pt x="206" y="836"/>
                        </a:lnTo>
                        <a:lnTo>
                          <a:pt x="210" y="800"/>
                        </a:lnTo>
                        <a:lnTo>
                          <a:pt x="216" y="766"/>
                        </a:lnTo>
                        <a:lnTo>
                          <a:pt x="224" y="732"/>
                        </a:lnTo>
                        <a:lnTo>
                          <a:pt x="234" y="698"/>
                        </a:lnTo>
                        <a:lnTo>
                          <a:pt x="244" y="664"/>
                        </a:lnTo>
                        <a:lnTo>
                          <a:pt x="256" y="632"/>
                        </a:lnTo>
                        <a:lnTo>
                          <a:pt x="272" y="602"/>
                        </a:lnTo>
                        <a:lnTo>
                          <a:pt x="286" y="572"/>
                        </a:lnTo>
                        <a:lnTo>
                          <a:pt x="304" y="542"/>
                        </a:lnTo>
                        <a:lnTo>
                          <a:pt x="322" y="512"/>
                        </a:lnTo>
                        <a:lnTo>
                          <a:pt x="342" y="486"/>
                        </a:lnTo>
                        <a:lnTo>
                          <a:pt x="362" y="458"/>
                        </a:lnTo>
                        <a:lnTo>
                          <a:pt x="384" y="432"/>
                        </a:lnTo>
                        <a:lnTo>
                          <a:pt x="408" y="408"/>
                        </a:lnTo>
                        <a:lnTo>
                          <a:pt x="432" y="386"/>
                        </a:lnTo>
                        <a:lnTo>
                          <a:pt x="458" y="362"/>
                        </a:lnTo>
                        <a:lnTo>
                          <a:pt x="484" y="342"/>
                        </a:lnTo>
                        <a:lnTo>
                          <a:pt x="512" y="322"/>
                        </a:lnTo>
                        <a:lnTo>
                          <a:pt x="542" y="304"/>
                        </a:lnTo>
                        <a:lnTo>
                          <a:pt x="570" y="286"/>
                        </a:lnTo>
                        <a:lnTo>
                          <a:pt x="602" y="272"/>
                        </a:lnTo>
                        <a:lnTo>
                          <a:pt x="632" y="258"/>
                        </a:lnTo>
                        <a:lnTo>
                          <a:pt x="664" y="244"/>
                        </a:lnTo>
                        <a:lnTo>
                          <a:pt x="698" y="234"/>
                        </a:lnTo>
                        <a:lnTo>
                          <a:pt x="730" y="224"/>
                        </a:lnTo>
                        <a:lnTo>
                          <a:pt x="766" y="216"/>
                        </a:lnTo>
                        <a:lnTo>
                          <a:pt x="800" y="210"/>
                        </a:lnTo>
                        <a:lnTo>
                          <a:pt x="836" y="206"/>
                        </a:lnTo>
                        <a:lnTo>
                          <a:pt x="872" y="202"/>
                        </a:lnTo>
                        <a:lnTo>
                          <a:pt x="908" y="202"/>
                        </a:lnTo>
                        <a:lnTo>
                          <a:pt x="944" y="202"/>
                        </a:lnTo>
                        <a:lnTo>
                          <a:pt x="980" y="206"/>
                        </a:lnTo>
                        <a:lnTo>
                          <a:pt x="1014" y="210"/>
                        </a:lnTo>
                        <a:lnTo>
                          <a:pt x="1050" y="216"/>
                        </a:lnTo>
                        <a:lnTo>
                          <a:pt x="1084" y="224"/>
                        </a:lnTo>
                        <a:lnTo>
                          <a:pt x="1118" y="234"/>
                        </a:lnTo>
                        <a:lnTo>
                          <a:pt x="1150" y="244"/>
                        </a:lnTo>
                        <a:lnTo>
                          <a:pt x="1182" y="258"/>
                        </a:lnTo>
                        <a:lnTo>
                          <a:pt x="1214" y="272"/>
                        </a:lnTo>
                        <a:lnTo>
                          <a:pt x="1244" y="286"/>
                        </a:lnTo>
                        <a:lnTo>
                          <a:pt x="1274" y="304"/>
                        </a:lnTo>
                        <a:lnTo>
                          <a:pt x="1302" y="322"/>
                        </a:lnTo>
                        <a:lnTo>
                          <a:pt x="1330" y="342"/>
                        </a:lnTo>
                        <a:lnTo>
                          <a:pt x="1356" y="362"/>
                        </a:lnTo>
                        <a:lnTo>
                          <a:pt x="1382" y="386"/>
                        </a:lnTo>
                        <a:lnTo>
                          <a:pt x="1406" y="408"/>
                        </a:lnTo>
                        <a:lnTo>
                          <a:pt x="1430" y="432"/>
                        </a:lnTo>
                        <a:lnTo>
                          <a:pt x="1452" y="458"/>
                        </a:lnTo>
                        <a:lnTo>
                          <a:pt x="1474" y="486"/>
                        </a:lnTo>
                        <a:lnTo>
                          <a:pt x="1492" y="512"/>
                        </a:lnTo>
                        <a:lnTo>
                          <a:pt x="1512" y="542"/>
                        </a:lnTo>
                        <a:lnTo>
                          <a:pt x="1528" y="572"/>
                        </a:lnTo>
                        <a:lnTo>
                          <a:pt x="1544" y="602"/>
                        </a:lnTo>
                        <a:lnTo>
                          <a:pt x="1558" y="632"/>
                        </a:lnTo>
                        <a:lnTo>
                          <a:pt x="1570" y="664"/>
                        </a:lnTo>
                        <a:lnTo>
                          <a:pt x="1582" y="698"/>
                        </a:lnTo>
                        <a:lnTo>
                          <a:pt x="1592" y="732"/>
                        </a:lnTo>
                        <a:lnTo>
                          <a:pt x="1598" y="766"/>
                        </a:lnTo>
                        <a:lnTo>
                          <a:pt x="1606" y="800"/>
                        </a:lnTo>
                        <a:lnTo>
                          <a:pt x="1610" y="836"/>
                        </a:lnTo>
                        <a:lnTo>
                          <a:pt x="1612" y="872"/>
                        </a:lnTo>
                        <a:lnTo>
                          <a:pt x="1614" y="908"/>
                        </a:lnTo>
                        <a:lnTo>
                          <a:pt x="1612" y="944"/>
                        </a:lnTo>
                        <a:lnTo>
                          <a:pt x="1610" y="980"/>
                        </a:lnTo>
                        <a:lnTo>
                          <a:pt x="1606" y="1016"/>
                        </a:lnTo>
                        <a:lnTo>
                          <a:pt x="1598" y="1050"/>
                        </a:lnTo>
                        <a:lnTo>
                          <a:pt x="1592" y="1084"/>
                        </a:lnTo>
                        <a:lnTo>
                          <a:pt x="1582" y="1118"/>
                        </a:lnTo>
                        <a:lnTo>
                          <a:pt x="1570" y="1150"/>
                        </a:lnTo>
                        <a:lnTo>
                          <a:pt x="1558" y="1182"/>
                        </a:lnTo>
                        <a:lnTo>
                          <a:pt x="1544" y="1214"/>
                        </a:lnTo>
                        <a:lnTo>
                          <a:pt x="1528" y="1244"/>
                        </a:lnTo>
                        <a:lnTo>
                          <a:pt x="1512" y="1274"/>
                        </a:lnTo>
                        <a:lnTo>
                          <a:pt x="1492" y="1302"/>
                        </a:lnTo>
                        <a:lnTo>
                          <a:pt x="1474" y="1330"/>
                        </a:lnTo>
                        <a:lnTo>
                          <a:pt x="1452" y="1356"/>
                        </a:lnTo>
                        <a:lnTo>
                          <a:pt x="1430" y="1382"/>
                        </a:lnTo>
                        <a:lnTo>
                          <a:pt x="1406" y="1406"/>
                        </a:lnTo>
                        <a:lnTo>
                          <a:pt x="1382" y="1430"/>
                        </a:lnTo>
                        <a:lnTo>
                          <a:pt x="1356" y="1452"/>
                        </a:lnTo>
                        <a:lnTo>
                          <a:pt x="1330" y="1474"/>
                        </a:lnTo>
                        <a:lnTo>
                          <a:pt x="1302" y="1492"/>
                        </a:lnTo>
                        <a:lnTo>
                          <a:pt x="1274" y="1512"/>
                        </a:lnTo>
                        <a:lnTo>
                          <a:pt x="1244" y="1528"/>
                        </a:lnTo>
                        <a:lnTo>
                          <a:pt x="1214" y="1544"/>
                        </a:lnTo>
                        <a:lnTo>
                          <a:pt x="1182" y="1558"/>
                        </a:lnTo>
                        <a:lnTo>
                          <a:pt x="1150" y="1570"/>
                        </a:lnTo>
                        <a:lnTo>
                          <a:pt x="1118" y="1582"/>
                        </a:lnTo>
                        <a:lnTo>
                          <a:pt x="1084" y="1592"/>
                        </a:lnTo>
                        <a:lnTo>
                          <a:pt x="1050" y="1600"/>
                        </a:lnTo>
                        <a:lnTo>
                          <a:pt x="1014" y="1606"/>
                        </a:lnTo>
                        <a:lnTo>
                          <a:pt x="980" y="1610"/>
                        </a:lnTo>
                        <a:lnTo>
                          <a:pt x="944" y="1612"/>
                        </a:lnTo>
                        <a:lnTo>
                          <a:pt x="908" y="1614"/>
                        </a:lnTo>
                        <a:close/>
                      </a:path>
                    </a:pathLst>
                  </a:custGeom>
                  <a:solidFill>
                    <a:schemeClr val="accent2">
                      <a:alpha val="79999"/>
                    </a:schemeClr>
                  </a:solidFill>
                  <a:ln>
                    <a:noFill/>
                  </a:ln>
                  <a:extLst>
                    <a:ext uri="{91240B29-F687-4F45-9708-019B960494DF}">
                      <a14:hiddenLine xmlns:a14="http://schemas.microsoft.com/office/drawing/2010/main" w="19050" cap="rnd">
                        <a:solidFill>
                          <a:srgbClr val="000000"/>
                        </a:solidFill>
                        <a:prstDash val="sysDot"/>
                        <a:round/>
                        <a:headEnd/>
                        <a:tailEnd/>
                      </a14:hiddenLine>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000000"/>
                      </a:solidFill>
                      <a:effectLst/>
                      <a:uLnTx/>
                      <a:uFillTx/>
                      <a:latin typeface="Aa楷体" panose="02000500000000000000" pitchFamily="2" charset="-122"/>
                      <a:ea typeface="Aa楷体" panose="02000500000000000000" pitchFamily="2" charset="-122"/>
                      <a:cs typeface="+mn-cs"/>
                      <a:sym typeface="YRDZST"/>
                    </a:endParaRPr>
                  </a:p>
                </p:txBody>
              </p:sp>
              <p:sp>
                <p:nvSpPr>
                  <p:cNvPr id="24" name="Oval 680">
                    <a:extLst>
                      <a:ext uri="{FF2B5EF4-FFF2-40B4-BE49-F238E27FC236}">
                        <a16:creationId xmlns:a16="http://schemas.microsoft.com/office/drawing/2014/main" id="{47B07CEE-14CA-7CBC-B5AF-4D385CA6E8D9}"/>
                      </a:ext>
                    </a:extLst>
                  </p:cNvPr>
                  <p:cNvSpPr>
                    <a:spLocks noChangeArrowheads="1"/>
                  </p:cNvSpPr>
                  <p:nvPr/>
                </p:nvSpPr>
                <p:spPr bwMode="auto">
                  <a:xfrm>
                    <a:off x="6056088" y="4040530"/>
                    <a:ext cx="1577101" cy="1577397"/>
                  </a:xfrm>
                  <a:prstGeom prst="ellipse">
                    <a:avLst/>
                  </a:prstGeom>
                  <a:solidFill>
                    <a:schemeClr val="accent5"/>
                  </a:solidFill>
                  <a:ln>
                    <a:noFill/>
                  </a:ln>
                  <a:extLst>
                    <a:ext uri="{91240B29-F687-4F45-9708-019B960494DF}">
                      <a14:hiddenLine xmlns:a14="http://schemas.microsoft.com/office/drawing/2010/main" w="19050" algn="ctr">
                        <a:solidFill>
                          <a:srgbClr val="000000"/>
                        </a:solidFill>
                        <a:round/>
                        <a:headEnd/>
                        <a:tailEnd/>
                      </a14:hiddenLine>
                    </a:ext>
                  </a:extLst>
                </p:spPr>
                <p:txBody>
                  <a:bodyPr wrap="none"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1" lang="ko-KR" altLang="en-US" sz="1600" b="0" i="0" u="none" strike="noStrike" kern="1200" cap="none" spc="0" normalizeH="0" baseline="0" noProof="0" dirty="0">
                      <a:ln>
                        <a:noFill/>
                      </a:ln>
                      <a:solidFill>
                        <a:srgbClr val="FFFFFF"/>
                      </a:solidFill>
                      <a:effectLst/>
                      <a:uLnTx/>
                      <a:uFillTx/>
                      <a:latin typeface="Aa楷体" panose="02000500000000000000" pitchFamily="2" charset="-122"/>
                      <a:ea typeface="Gulim" pitchFamily="34" charset="-127"/>
                      <a:cs typeface="+mn-cs"/>
                      <a:sym typeface="YRDZST"/>
                    </a:endParaRPr>
                  </a:p>
                </p:txBody>
              </p:sp>
              <p:sp>
                <p:nvSpPr>
                  <p:cNvPr id="26" name="Arc 681">
                    <a:extLst>
                      <a:ext uri="{FF2B5EF4-FFF2-40B4-BE49-F238E27FC236}">
                        <a16:creationId xmlns:a16="http://schemas.microsoft.com/office/drawing/2014/main" id="{12B0DD2C-E7DE-E4D2-AD96-C167A500B831}"/>
                      </a:ext>
                    </a:extLst>
                  </p:cNvPr>
                  <p:cNvSpPr>
                    <a:spLocks/>
                  </p:cNvSpPr>
                  <p:nvPr/>
                </p:nvSpPr>
                <p:spPr bwMode="auto">
                  <a:xfrm rot="7501686">
                    <a:off x="4141154" y="3609437"/>
                    <a:ext cx="1907839" cy="1548012"/>
                  </a:xfrm>
                  <a:custGeom>
                    <a:avLst/>
                    <a:gdLst>
                      <a:gd name="T0" fmla="*/ 2147483647 w 21600"/>
                      <a:gd name="T1" fmla="*/ 0 h 15695"/>
                      <a:gd name="T2" fmla="*/ 2147483647 w 21600"/>
                      <a:gd name="T3" fmla="*/ 2147483647 h 15695"/>
                      <a:gd name="T4" fmla="*/ 0 w 21600"/>
                      <a:gd name="T5" fmla="*/ 2147483647 h 15695"/>
                      <a:gd name="T6" fmla="*/ 0 60000 65536"/>
                      <a:gd name="T7" fmla="*/ 0 60000 65536"/>
                      <a:gd name="T8" fmla="*/ 0 60000 65536"/>
                      <a:gd name="T9" fmla="*/ 0 w 21600"/>
                      <a:gd name="T10" fmla="*/ 0 h 15695"/>
                      <a:gd name="T11" fmla="*/ 21600 w 21600"/>
                      <a:gd name="T12" fmla="*/ 15695 h 15695"/>
                    </a:gdLst>
                    <a:ahLst/>
                    <a:cxnLst>
                      <a:cxn ang="T6">
                        <a:pos x="T0" y="T1"/>
                      </a:cxn>
                      <a:cxn ang="T7">
                        <a:pos x="T2" y="T3"/>
                      </a:cxn>
                      <a:cxn ang="T8">
                        <a:pos x="T4" y="T5"/>
                      </a:cxn>
                    </a:cxnLst>
                    <a:rect l="T9" t="T10" r="T11" b="T12"/>
                    <a:pathLst>
                      <a:path w="21600" h="15695" fill="none" extrusionOk="0">
                        <a:moveTo>
                          <a:pt x="14840" y="-1"/>
                        </a:moveTo>
                        <a:cubicBezTo>
                          <a:pt x="19155" y="4079"/>
                          <a:pt x="21600" y="9756"/>
                          <a:pt x="21600" y="15695"/>
                        </a:cubicBezTo>
                      </a:path>
                      <a:path w="21600" h="15695" stroke="0" extrusionOk="0">
                        <a:moveTo>
                          <a:pt x="14840" y="-1"/>
                        </a:moveTo>
                        <a:cubicBezTo>
                          <a:pt x="19155" y="4079"/>
                          <a:pt x="21600" y="9756"/>
                          <a:pt x="21600" y="15695"/>
                        </a:cubicBezTo>
                        <a:lnTo>
                          <a:pt x="0" y="15695"/>
                        </a:lnTo>
                        <a:lnTo>
                          <a:pt x="14840" y="-1"/>
                        </a:lnTo>
                        <a:close/>
                      </a:path>
                    </a:pathLst>
                  </a:custGeom>
                  <a:noFill/>
                  <a:ln w="38100">
                    <a:solidFill>
                      <a:schemeClr val="accent2"/>
                    </a:solidFill>
                    <a:prstDash val="solid"/>
                    <a:round/>
                    <a:headE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dirty="0">
                      <a:ln>
                        <a:noFill/>
                      </a:ln>
                      <a:solidFill>
                        <a:srgbClr val="000000"/>
                      </a:solidFill>
                      <a:effectLst/>
                      <a:uLnTx/>
                      <a:uFillTx/>
                      <a:latin typeface="Aa楷体" panose="02000500000000000000" pitchFamily="2" charset="-122"/>
                      <a:ea typeface="Gulim" pitchFamily="34" charset="-127"/>
                      <a:cs typeface="+mn-cs"/>
                      <a:sym typeface="YRDZST"/>
                    </a:endParaRPr>
                  </a:p>
                </p:txBody>
              </p:sp>
              <p:sp>
                <p:nvSpPr>
                  <p:cNvPr id="28" name="Arc 683">
                    <a:extLst>
                      <a:ext uri="{FF2B5EF4-FFF2-40B4-BE49-F238E27FC236}">
                        <a16:creationId xmlns:a16="http://schemas.microsoft.com/office/drawing/2014/main" id="{902FE7E2-5A38-6061-11ED-F6D92F4DCB68}"/>
                      </a:ext>
                    </a:extLst>
                  </p:cNvPr>
                  <p:cNvSpPr>
                    <a:spLocks/>
                  </p:cNvSpPr>
                  <p:nvPr/>
                </p:nvSpPr>
                <p:spPr bwMode="auto">
                  <a:xfrm rot="256945">
                    <a:off x="7018140" y="2743699"/>
                    <a:ext cx="621283" cy="899885"/>
                  </a:xfrm>
                  <a:custGeom>
                    <a:avLst/>
                    <a:gdLst>
                      <a:gd name="T0" fmla="*/ 2147483647 w 21600"/>
                      <a:gd name="T1" fmla="*/ 0 h 31203"/>
                      <a:gd name="T2" fmla="*/ 2147483647 w 21600"/>
                      <a:gd name="T3" fmla="*/ 2147483647 h 31203"/>
                      <a:gd name="T4" fmla="*/ 0 w 21600"/>
                      <a:gd name="T5" fmla="*/ 2147483647 h 31203"/>
                      <a:gd name="T6" fmla="*/ 0 60000 65536"/>
                      <a:gd name="T7" fmla="*/ 0 60000 65536"/>
                      <a:gd name="T8" fmla="*/ 0 60000 65536"/>
                      <a:gd name="T9" fmla="*/ 0 w 21600"/>
                      <a:gd name="T10" fmla="*/ 0 h 31203"/>
                      <a:gd name="T11" fmla="*/ 21600 w 21600"/>
                      <a:gd name="T12" fmla="*/ 31203 h 31203"/>
                    </a:gdLst>
                    <a:ahLst/>
                    <a:cxnLst>
                      <a:cxn ang="T6">
                        <a:pos x="T0" y="T1"/>
                      </a:cxn>
                      <a:cxn ang="T7">
                        <a:pos x="T2" y="T3"/>
                      </a:cxn>
                      <a:cxn ang="T8">
                        <a:pos x="T4" y="T5"/>
                      </a:cxn>
                    </a:cxnLst>
                    <a:rect l="T9" t="T10" r="T11" b="T12"/>
                    <a:pathLst>
                      <a:path w="21600" h="31203" fill="none" extrusionOk="0">
                        <a:moveTo>
                          <a:pt x="3237" y="-1"/>
                        </a:moveTo>
                        <a:cubicBezTo>
                          <a:pt x="13795" y="1600"/>
                          <a:pt x="21600" y="10676"/>
                          <a:pt x="21600" y="21356"/>
                        </a:cubicBezTo>
                        <a:cubicBezTo>
                          <a:pt x="21600" y="24780"/>
                          <a:pt x="20785" y="28155"/>
                          <a:pt x="19224" y="31202"/>
                        </a:cubicBezTo>
                      </a:path>
                      <a:path w="21600" h="31203" stroke="0" extrusionOk="0">
                        <a:moveTo>
                          <a:pt x="3237" y="-1"/>
                        </a:moveTo>
                        <a:cubicBezTo>
                          <a:pt x="13795" y="1600"/>
                          <a:pt x="21600" y="10676"/>
                          <a:pt x="21600" y="21356"/>
                        </a:cubicBezTo>
                        <a:cubicBezTo>
                          <a:pt x="21600" y="24780"/>
                          <a:pt x="20785" y="28155"/>
                          <a:pt x="19224" y="31202"/>
                        </a:cubicBezTo>
                        <a:lnTo>
                          <a:pt x="0" y="21356"/>
                        </a:lnTo>
                        <a:lnTo>
                          <a:pt x="3237" y="-1"/>
                        </a:lnTo>
                        <a:close/>
                      </a:path>
                    </a:pathLst>
                  </a:custGeom>
                  <a:noFill/>
                  <a:ln w="38100">
                    <a:solidFill>
                      <a:schemeClr val="accent2"/>
                    </a:solidFill>
                    <a:prstDash val="solid"/>
                    <a:round/>
                    <a:headE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dirty="0">
                      <a:ln>
                        <a:noFill/>
                      </a:ln>
                      <a:solidFill>
                        <a:srgbClr val="000000"/>
                      </a:solidFill>
                      <a:effectLst/>
                      <a:uLnTx/>
                      <a:uFillTx/>
                      <a:latin typeface="Aa楷体" panose="02000500000000000000" pitchFamily="2" charset="-122"/>
                      <a:ea typeface="Gulim" pitchFamily="34" charset="-127"/>
                      <a:cs typeface="+mn-cs"/>
                      <a:sym typeface="YRDZST"/>
                    </a:endParaRPr>
                  </a:p>
                </p:txBody>
              </p:sp>
            </p:grpSp>
            <p:grpSp>
              <p:nvGrpSpPr>
                <p:cNvPr id="14" name="Group 37">
                  <a:extLst>
                    <a:ext uri="{FF2B5EF4-FFF2-40B4-BE49-F238E27FC236}">
                      <a16:creationId xmlns:a16="http://schemas.microsoft.com/office/drawing/2014/main" id="{87CA2272-7401-C803-BDDF-9A04213E3DC8}"/>
                    </a:ext>
                  </a:extLst>
                </p:cNvPr>
                <p:cNvGrpSpPr/>
                <p:nvPr/>
              </p:nvGrpSpPr>
              <p:grpSpPr>
                <a:xfrm>
                  <a:off x="2077455" y="2916082"/>
                  <a:ext cx="957918" cy="1163477"/>
                  <a:chOff x="6421904" y="4798576"/>
                  <a:chExt cx="299494" cy="389342"/>
                </a:xfrm>
                <a:solidFill>
                  <a:schemeClr val="bg1"/>
                </a:solidFill>
              </p:grpSpPr>
              <p:sp>
                <p:nvSpPr>
                  <p:cNvPr id="15" name="Freeform 170">
                    <a:extLst>
                      <a:ext uri="{FF2B5EF4-FFF2-40B4-BE49-F238E27FC236}">
                        <a16:creationId xmlns:a16="http://schemas.microsoft.com/office/drawing/2014/main" id="{33C67804-4A23-60AD-86F1-E9572F57E964}"/>
                      </a:ext>
                    </a:extLst>
                  </p:cNvPr>
                  <p:cNvSpPr>
                    <a:spLocks/>
                  </p:cNvSpPr>
                  <p:nvPr/>
                </p:nvSpPr>
                <p:spPr bwMode="auto">
                  <a:xfrm>
                    <a:off x="6421904" y="4910886"/>
                    <a:ext cx="299494" cy="277032"/>
                  </a:xfrm>
                  <a:custGeom>
                    <a:avLst/>
                    <a:gdLst>
                      <a:gd name="T0" fmla="*/ 45 w 90"/>
                      <a:gd name="T1" fmla="*/ 83 h 83"/>
                      <a:gd name="T2" fmla="*/ 90 w 90"/>
                      <a:gd name="T3" fmla="*/ 0 h 83"/>
                      <a:gd name="T4" fmla="*/ 0 w 90"/>
                      <a:gd name="T5" fmla="*/ 0 h 83"/>
                      <a:gd name="T6" fmla="*/ 45 w 90"/>
                      <a:gd name="T7" fmla="*/ 83 h 83"/>
                    </a:gdLst>
                    <a:ahLst/>
                    <a:cxnLst>
                      <a:cxn ang="0">
                        <a:pos x="T0" y="T1"/>
                      </a:cxn>
                      <a:cxn ang="0">
                        <a:pos x="T2" y="T3"/>
                      </a:cxn>
                      <a:cxn ang="0">
                        <a:pos x="T4" y="T5"/>
                      </a:cxn>
                      <a:cxn ang="0">
                        <a:pos x="T6" y="T7"/>
                      </a:cxn>
                    </a:cxnLst>
                    <a:rect l="0" t="0" r="r" b="b"/>
                    <a:pathLst>
                      <a:path w="90" h="83">
                        <a:moveTo>
                          <a:pt x="45" y="83"/>
                        </a:moveTo>
                        <a:cubicBezTo>
                          <a:pt x="90" y="59"/>
                          <a:pt x="90" y="0"/>
                          <a:pt x="90" y="0"/>
                        </a:cubicBezTo>
                        <a:cubicBezTo>
                          <a:pt x="0" y="0"/>
                          <a:pt x="0" y="0"/>
                          <a:pt x="0" y="0"/>
                        </a:cubicBezTo>
                        <a:cubicBezTo>
                          <a:pt x="0" y="0"/>
                          <a:pt x="0" y="59"/>
                          <a:pt x="45" y="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a楷体" panose="02000500000000000000" pitchFamily="2" charset="-122"/>
                      <a:ea typeface="+mn-ea"/>
                      <a:cs typeface="+mn-cs"/>
                      <a:sym typeface="YRDZST"/>
                    </a:endParaRPr>
                  </a:p>
                </p:txBody>
              </p:sp>
              <p:sp>
                <p:nvSpPr>
                  <p:cNvPr id="16" name="Freeform 171">
                    <a:extLst>
                      <a:ext uri="{FF2B5EF4-FFF2-40B4-BE49-F238E27FC236}">
                        <a16:creationId xmlns:a16="http://schemas.microsoft.com/office/drawing/2014/main" id="{99BC4836-ED5D-5C05-5A70-68EC282C5FB8}"/>
                      </a:ext>
                    </a:extLst>
                  </p:cNvPr>
                  <p:cNvSpPr>
                    <a:spLocks/>
                  </p:cNvSpPr>
                  <p:nvPr/>
                </p:nvSpPr>
                <p:spPr bwMode="auto">
                  <a:xfrm>
                    <a:off x="6421904" y="4798576"/>
                    <a:ext cx="299494" cy="94840"/>
                  </a:xfrm>
                  <a:custGeom>
                    <a:avLst/>
                    <a:gdLst>
                      <a:gd name="T0" fmla="*/ 84 w 90"/>
                      <a:gd name="T1" fmla="*/ 0 h 29"/>
                      <a:gd name="T2" fmla="*/ 68 w 90"/>
                      <a:gd name="T3" fmla="*/ 16 h 29"/>
                      <a:gd name="T4" fmla="*/ 52 w 90"/>
                      <a:gd name="T5" fmla="*/ 0 h 29"/>
                      <a:gd name="T6" fmla="*/ 39 w 90"/>
                      <a:gd name="T7" fmla="*/ 0 h 29"/>
                      <a:gd name="T8" fmla="*/ 23 w 90"/>
                      <a:gd name="T9" fmla="*/ 16 h 29"/>
                      <a:gd name="T10" fmla="*/ 7 w 90"/>
                      <a:gd name="T11" fmla="*/ 0 h 29"/>
                      <a:gd name="T12" fmla="*/ 0 w 90"/>
                      <a:gd name="T13" fmla="*/ 0 h 29"/>
                      <a:gd name="T14" fmla="*/ 0 w 90"/>
                      <a:gd name="T15" fmla="*/ 29 h 29"/>
                      <a:gd name="T16" fmla="*/ 90 w 90"/>
                      <a:gd name="T17" fmla="*/ 29 h 29"/>
                      <a:gd name="T18" fmla="*/ 90 w 90"/>
                      <a:gd name="T19" fmla="*/ 0 h 29"/>
                      <a:gd name="T20" fmla="*/ 84 w 90"/>
                      <a:gd name="T21"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29">
                        <a:moveTo>
                          <a:pt x="84" y="0"/>
                        </a:moveTo>
                        <a:cubicBezTo>
                          <a:pt x="84" y="9"/>
                          <a:pt x="77" y="16"/>
                          <a:pt x="68" y="16"/>
                        </a:cubicBezTo>
                        <a:cubicBezTo>
                          <a:pt x="59" y="16"/>
                          <a:pt x="52" y="9"/>
                          <a:pt x="52" y="0"/>
                        </a:cubicBezTo>
                        <a:cubicBezTo>
                          <a:pt x="39" y="0"/>
                          <a:pt x="39" y="0"/>
                          <a:pt x="39" y="0"/>
                        </a:cubicBezTo>
                        <a:cubicBezTo>
                          <a:pt x="39" y="9"/>
                          <a:pt x="32" y="16"/>
                          <a:pt x="23" y="16"/>
                        </a:cubicBezTo>
                        <a:cubicBezTo>
                          <a:pt x="14" y="16"/>
                          <a:pt x="7" y="9"/>
                          <a:pt x="7" y="0"/>
                        </a:cubicBezTo>
                        <a:cubicBezTo>
                          <a:pt x="0" y="0"/>
                          <a:pt x="0" y="0"/>
                          <a:pt x="0" y="0"/>
                        </a:cubicBezTo>
                        <a:cubicBezTo>
                          <a:pt x="0" y="29"/>
                          <a:pt x="0" y="29"/>
                          <a:pt x="0" y="29"/>
                        </a:cubicBezTo>
                        <a:cubicBezTo>
                          <a:pt x="90" y="29"/>
                          <a:pt x="90" y="29"/>
                          <a:pt x="90" y="29"/>
                        </a:cubicBezTo>
                        <a:cubicBezTo>
                          <a:pt x="90" y="0"/>
                          <a:pt x="90" y="0"/>
                          <a:pt x="90" y="0"/>
                        </a:cubicBezTo>
                        <a:lnTo>
                          <a:pt x="8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a楷体" panose="02000500000000000000" pitchFamily="2" charset="-122"/>
                      <a:ea typeface="+mn-ea"/>
                      <a:cs typeface="+mn-cs"/>
                      <a:sym typeface="YRDZST"/>
                    </a:endParaRPr>
                  </a:p>
                </p:txBody>
              </p:sp>
            </p:grpSp>
          </p:grpSp>
          <p:sp>
            <p:nvSpPr>
              <p:cNvPr id="12" name="Freeform 104">
                <a:extLst>
                  <a:ext uri="{FF2B5EF4-FFF2-40B4-BE49-F238E27FC236}">
                    <a16:creationId xmlns:a16="http://schemas.microsoft.com/office/drawing/2014/main" id="{3154B860-146D-4556-4096-EA2CE4C63F50}"/>
                  </a:ext>
                </a:extLst>
              </p:cNvPr>
              <p:cNvSpPr>
                <a:spLocks noEditPoints="1"/>
              </p:cNvSpPr>
              <p:nvPr/>
            </p:nvSpPr>
            <p:spPr bwMode="auto">
              <a:xfrm>
                <a:off x="4393827" y="2742960"/>
                <a:ext cx="669716" cy="799105"/>
              </a:xfrm>
              <a:custGeom>
                <a:avLst/>
                <a:gdLst>
                  <a:gd name="T0" fmla="*/ 2147483646 w 120"/>
                  <a:gd name="T1" fmla="*/ 2147483646 h 118"/>
                  <a:gd name="T2" fmla="*/ 2147483646 w 120"/>
                  <a:gd name="T3" fmla="*/ 2147483646 h 118"/>
                  <a:gd name="T4" fmla="*/ 2147483646 w 120"/>
                  <a:gd name="T5" fmla="*/ 2147483646 h 118"/>
                  <a:gd name="T6" fmla="*/ 2147483646 w 120"/>
                  <a:gd name="T7" fmla="*/ 2147483646 h 118"/>
                  <a:gd name="T8" fmla="*/ 2147483646 w 120"/>
                  <a:gd name="T9" fmla="*/ 2147483646 h 118"/>
                  <a:gd name="T10" fmla="*/ 2147483646 w 120"/>
                  <a:gd name="T11" fmla="*/ 2147483646 h 118"/>
                  <a:gd name="T12" fmla="*/ 2147483646 w 120"/>
                  <a:gd name="T13" fmla="*/ 2147483646 h 118"/>
                  <a:gd name="T14" fmla="*/ 2147483646 w 120"/>
                  <a:gd name="T15" fmla="*/ 2147483646 h 118"/>
                  <a:gd name="T16" fmla="*/ 2147483646 w 120"/>
                  <a:gd name="T17" fmla="*/ 2147483646 h 118"/>
                  <a:gd name="T18" fmla="*/ 2147483646 w 120"/>
                  <a:gd name="T19" fmla="*/ 2147483646 h 118"/>
                  <a:gd name="T20" fmla="*/ 2147483646 w 120"/>
                  <a:gd name="T21" fmla="*/ 2147483646 h 118"/>
                  <a:gd name="T22" fmla="*/ 2147483646 w 120"/>
                  <a:gd name="T23" fmla="*/ 2147483646 h 118"/>
                  <a:gd name="T24" fmla="*/ 2147483646 w 120"/>
                  <a:gd name="T25" fmla="*/ 2147483646 h 118"/>
                  <a:gd name="T26" fmla="*/ 2147483646 w 120"/>
                  <a:gd name="T27" fmla="*/ 2147483646 h 118"/>
                  <a:gd name="T28" fmla="*/ 2147483646 w 120"/>
                  <a:gd name="T29" fmla="*/ 2147483646 h 118"/>
                  <a:gd name="T30" fmla="*/ 2147483646 w 120"/>
                  <a:gd name="T31" fmla="*/ 2147483646 h 118"/>
                  <a:gd name="T32" fmla="*/ 2147483646 w 120"/>
                  <a:gd name="T33" fmla="*/ 2147483646 h 118"/>
                  <a:gd name="T34" fmla="*/ 2147483646 w 120"/>
                  <a:gd name="T35" fmla="*/ 2147483646 h 118"/>
                  <a:gd name="T36" fmla="*/ 2147483646 w 120"/>
                  <a:gd name="T37" fmla="*/ 2147483646 h 118"/>
                  <a:gd name="T38" fmla="*/ 2147483646 w 120"/>
                  <a:gd name="T39" fmla="*/ 2147483646 h 1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20" h="118">
                    <a:moveTo>
                      <a:pt x="53" y="35"/>
                    </a:moveTo>
                    <a:cubicBezTo>
                      <a:pt x="56" y="26"/>
                      <a:pt x="54" y="16"/>
                      <a:pt x="47" y="9"/>
                    </a:cubicBezTo>
                    <a:cubicBezTo>
                      <a:pt x="40" y="2"/>
                      <a:pt x="30" y="0"/>
                      <a:pt x="21" y="2"/>
                    </a:cubicBezTo>
                    <a:cubicBezTo>
                      <a:pt x="36" y="17"/>
                      <a:pt x="36" y="17"/>
                      <a:pt x="36" y="17"/>
                    </a:cubicBezTo>
                    <a:cubicBezTo>
                      <a:pt x="32" y="32"/>
                      <a:pt x="32" y="32"/>
                      <a:pt x="32" y="32"/>
                    </a:cubicBezTo>
                    <a:cubicBezTo>
                      <a:pt x="17" y="36"/>
                      <a:pt x="17" y="36"/>
                      <a:pt x="17" y="36"/>
                    </a:cubicBezTo>
                    <a:cubicBezTo>
                      <a:pt x="2" y="21"/>
                      <a:pt x="2" y="21"/>
                      <a:pt x="2" y="21"/>
                    </a:cubicBezTo>
                    <a:cubicBezTo>
                      <a:pt x="0" y="30"/>
                      <a:pt x="2" y="40"/>
                      <a:pt x="9" y="47"/>
                    </a:cubicBezTo>
                    <a:cubicBezTo>
                      <a:pt x="17" y="54"/>
                      <a:pt x="27" y="56"/>
                      <a:pt x="36" y="53"/>
                    </a:cubicBezTo>
                    <a:cubicBezTo>
                      <a:pt x="36" y="53"/>
                      <a:pt x="36" y="53"/>
                      <a:pt x="36" y="53"/>
                    </a:cubicBezTo>
                    <a:cubicBezTo>
                      <a:pt x="98" y="115"/>
                      <a:pt x="98" y="115"/>
                      <a:pt x="98" y="115"/>
                    </a:cubicBezTo>
                    <a:cubicBezTo>
                      <a:pt x="100" y="117"/>
                      <a:pt x="103" y="118"/>
                      <a:pt x="107" y="118"/>
                    </a:cubicBezTo>
                    <a:cubicBezTo>
                      <a:pt x="110" y="118"/>
                      <a:pt x="113" y="117"/>
                      <a:pt x="115" y="115"/>
                    </a:cubicBezTo>
                    <a:cubicBezTo>
                      <a:pt x="120" y="110"/>
                      <a:pt x="120" y="102"/>
                      <a:pt x="115" y="97"/>
                    </a:cubicBezTo>
                    <a:lnTo>
                      <a:pt x="53" y="35"/>
                    </a:lnTo>
                    <a:close/>
                    <a:moveTo>
                      <a:pt x="108" y="113"/>
                    </a:moveTo>
                    <a:cubicBezTo>
                      <a:pt x="105" y="113"/>
                      <a:pt x="103" y="110"/>
                      <a:pt x="103" y="108"/>
                    </a:cubicBezTo>
                    <a:cubicBezTo>
                      <a:pt x="103" y="105"/>
                      <a:pt x="105" y="103"/>
                      <a:pt x="108" y="103"/>
                    </a:cubicBezTo>
                    <a:cubicBezTo>
                      <a:pt x="110" y="103"/>
                      <a:pt x="113" y="105"/>
                      <a:pt x="113" y="108"/>
                    </a:cubicBezTo>
                    <a:cubicBezTo>
                      <a:pt x="113" y="110"/>
                      <a:pt x="110" y="113"/>
                      <a:pt x="108" y="11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000000"/>
                  </a:solidFill>
                  <a:effectLst/>
                  <a:uLnTx/>
                  <a:uFillTx/>
                  <a:latin typeface="Aa楷体" panose="02000500000000000000" pitchFamily="2" charset="-122"/>
                  <a:ea typeface="Aa楷体" panose="02000500000000000000" pitchFamily="2" charset="-122"/>
                  <a:cs typeface="+mn-cs"/>
                  <a:sym typeface="YRDZST"/>
                </a:endParaRPr>
              </a:p>
            </p:txBody>
          </p:sp>
        </p:grpSp>
        <p:grpSp>
          <p:nvGrpSpPr>
            <p:cNvPr id="6" name="Group 42">
              <a:extLst>
                <a:ext uri="{FF2B5EF4-FFF2-40B4-BE49-F238E27FC236}">
                  <a16:creationId xmlns:a16="http://schemas.microsoft.com/office/drawing/2014/main" id="{4AAABBBC-FCC2-CC16-39E6-184A56F1C707}"/>
                </a:ext>
              </a:extLst>
            </p:cNvPr>
            <p:cNvGrpSpPr/>
            <p:nvPr/>
          </p:nvGrpSpPr>
          <p:grpSpPr>
            <a:xfrm>
              <a:off x="5516172" y="4217645"/>
              <a:ext cx="474180" cy="707849"/>
              <a:chOff x="5106627" y="2260366"/>
              <a:chExt cx="324452" cy="406813"/>
            </a:xfrm>
            <a:solidFill>
              <a:schemeClr val="bg1"/>
            </a:solidFill>
          </p:grpSpPr>
          <p:sp>
            <p:nvSpPr>
              <p:cNvPr id="7" name="Freeform 80">
                <a:extLst>
                  <a:ext uri="{FF2B5EF4-FFF2-40B4-BE49-F238E27FC236}">
                    <a16:creationId xmlns:a16="http://schemas.microsoft.com/office/drawing/2014/main" id="{E7F2E94A-74DE-855B-84FF-DEFD24A6B5BC}"/>
                  </a:ext>
                </a:extLst>
              </p:cNvPr>
              <p:cNvSpPr>
                <a:spLocks/>
              </p:cNvSpPr>
              <p:nvPr/>
            </p:nvSpPr>
            <p:spPr bwMode="auto">
              <a:xfrm>
                <a:off x="5106627" y="2430079"/>
                <a:ext cx="324452" cy="134772"/>
              </a:xfrm>
              <a:custGeom>
                <a:avLst/>
                <a:gdLst>
                  <a:gd name="T0" fmla="*/ 49 w 98"/>
                  <a:gd name="T1" fmla="*/ 16 h 40"/>
                  <a:gd name="T2" fmla="*/ 2 w 98"/>
                  <a:gd name="T3" fmla="*/ 0 h 40"/>
                  <a:gd name="T4" fmla="*/ 0 w 98"/>
                  <a:gd name="T5" fmla="*/ 5 h 40"/>
                  <a:gd name="T6" fmla="*/ 0 w 98"/>
                  <a:gd name="T7" fmla="*/ 20 h 40"/>
                  <a:gd name="T8" fmla="*/ 49 w 98"/>
                  <a:gd name="T9" fmla="*/ 40 h 40"/>
                  <a:gd name="T10" fmla="*/ 98 w 98"/>
                  <a:gd name="T11" fmla="*/ 20 h 40"/>
                  <a:gd name="T12" fmla="*/ 98 w 98"/>
                  <a:gd name="T13" fmla="*/ 5 h 40"/>
                  <a:gd name="T14" fmla="*/ 96 w 98"/>
                  <a:gd name="T15" fmla="*/ 0 h 40"/>
                  <a:gd name="T16" fmla="*/ 49 w 98"/>
                  <a:gd name="T17"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40">
                    <a:moveTo>
                      <a:pt x="49" y="16"/>
                    </a:moveTo>
                    <a:cubicBezTo>
                      <a:pt x="26" y="16"/>
                      <a:pt x="7" y="9"/>
                      <a:pt x="2" y="0"/>
                    </a:cubicBezTo>
                    <a:cubicBezTo>
                      <a:pt x="1" y="2"/>
                      <a:pt x="0" y="3"/>
                      <a:pt x="0" y="5"/>
                    </a:cubicBezTo>
                    <a:cubicBezTo>
                      <a:pt x="0" y="20"/>
                      <a:pt x="0" y="20"/>
                      <a:pt x="0" y="20"/>
                    </a:cubicBezTo>
                    <a:cubicBezTo>
                      <a:pt x="0" y="31"/>
                      <a:pt x="22" y="40"/>
                      <a:pt x="49" y="40"/>
                    </a:cubicBezTo>
                    <a:cubicBezTo>
                      <a:pt x="76" y="40"/>
                      <a:pt x="98" y="31"/>
                      <a:pt x="98" y="20"/>
                    </a:cubicBezTo>
                    <a:cubicBezTo>
                      <a:pt x="98" y="5"/>
                      <a:pt x="98" y="5"/>
                      <a:pt x="98" y="5"/>
                    </a:cubicBezTo>
                    <a:cubicBezTo>
                      <a:pt x="98" y="3"/>
                      <a:pt x="97" y="2"/>
                      <a:pt x="96" y="0"/>
                    </a:cubicBezTo>
                    <a:cubicBezTo>
                      <a:pt x="91" y="9"/>
                      <a:pt x="72" y="16"/>
                      <a:pt x="49"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a楷体" panose="02000500000000000000" pitchFamily="2" charset="-122"/>
                  <a:ea typeface="+mn-ea"/>
                  <a:cs typeface="+mn-cs"/>
                  <a:sym typeface="YRDZST"/>
                </a:endParaRPr>
              </a:p>
            </p:txBody>
          </p:sp>
          <p:sp>
            <p:nvSpPr>
              <p:cNvPr id="8" name="Freeform 81">
                <a:extLst>
                  <a:ext uri="{FF2B5EF4-FFF2-40B4-BE49-F238E27FC236}">
                    <a16:creationId xmlns:a16="http://schemas.microsoft.com/office/drawing/2014/main" id="{6DEEA008-5A81-2DEF-40FD-801E3ACBA2C6}"/>
                  </a:ext>
                </a:extLst>
              </p:cNvPr>
              <p:cNvSpPr>
                <a:spLocks/>
              </p:cNvSpPr>
              <p:nvPr/>
            </p:nvSpPr>
            <p:spPr bwMode="auto">
              <a:xfrm>
                <a:off x="5106627" y="2534902"/>
                <a:ext cx="324452" cy="132277"/>
              </a:xfrm>
              <a:custGeom>
                <a:avLst/>
                <a:gdLst>
                  <a:gd name="T0" fmla="*/ 49 w 98"/>
                  <a:gd name="T1" fmla="*/ 15 h 40"/>
                  <a:gd name="T2" fmla="*/ 2 w 98"/>
                  <a:gd name="T3" fmla="*/ 0 h 40"/>
                  <a:gd name="T4" fmla="*/ 0 w 98"/>
                  <a:gd name="T5" fmla="*/ 4 h 40"/>
                  <a:gd name="T6" fmla="*/ 0 w 98"/>
                  <a:gd name="T7" fmla="*/ 19 h 40"/>
                  <a:gd name="T8" fmla="*/ 49 w 98"/>
                  <a:gd name="T9" fmla="*/ 40 h 40"/>
                  <a:gd name="T10" fmla="*/ 98 w 98"/>
                  <a:gd name="T11" fmla="*/ 19 h 40"/>
                  <a:gd name="T12" fmla="*/ 98 w 98"/>
                  <a:gd name="T13" fmla="*/ 4 h 40"/>
                  <a:gd name="T14" fmla="*/ 96 w 98"/>
                  <a:gd name="T15" fmla="*/ 0 h 40"/>
                  <a:gd name="T16" fmla="*/ 49 w 98"/>
                  <a:gd name="T17" fmla="*/ 1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40">
                    <a:moveTo>
                      <a:pt x="49" y="15"/>
                    </a:moveTo>
                    <a:cubicBezTo>
                      <a:pt x="26" y="15"/>
                      <a:pt x="7" y="9"/>
                      <a:pt x="2" y="0"/>
                    </a:cubicBezTo>
                    <a:cubicBezTo>
                      <a:pt x="1" y="1"/>
                      <a:pt x="0" y="3"/>
                      <a:pt x="0" y="4"/>
                    </a:cubicBezTo>
                    <a:cubicBezTo>
                      <a:pt x="0" y="19"/>
                      <a:pt x="0" y="19"/>
                      <a:pt x="0" y="19"/>
                    </a:cubicBezTo>
                    <a:cubicBezTo>
                      <a:pt x="0" y="31"/>
                      <a:pt x="22" y="40"/>
                      <a:pt x="49" y="40"/>
                    </a:cubicBezTo>
                    <a:cubicBezTo>
                      <a:pt x="76" y="40"/>
                      <a:pt x="98" y="31"/>
                      <a:pt x="98" y="19"/>
                    </a:cubicBezTo>
                    <a:cubicBezTo>
                      <a:pt x="98" y="4"/>
                      <a:pt x="98" y="4"/>
                      <a:pt x="98" y="4"/>
                    </a:cubicBezTo>
                    <a:cubicBezTo>
                      <a:pt x="98" y="3"/>
                      <a:pt x="97" y="1"/>
                      <a:pt x="96" y="0"/>
                    </a:cubicBezTo>
                    <a:cubicBezTo>
                      <a:pt x="91" y="9"/>
                      <a:pt x="72" y="15"/>
                      <a:pt x="4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a楷体" panose="02000500000000000000" pitchFamily="2" charset="-122"/>
                  <a:ea typeface="+mn-ea"/>
                  <a:cs typeface="+mn-cs"/>
                  <a:sym typeface="YRDZST"/>
                </a:endParaRPr>
              </a:p>
            </p:txBody>
          </p:sp>
          <p:sp>
            <p:nvSpPr>
              <p:cNvPr id="9" name="Freeform 82">
                <a:extLst>
                  <a:ext uri="{FF2B5EF4-FFF2-40B4-BE49-F238E27FC236}">
                    <a16:creationId xmlns:a16="http://schemas.microsoft.com/office/drawing/2014/main" id="{7FC50819-745B-7A0A-E296-E1E587CA0DE3}"/>
                  </a:ext>
                </a:extLst>
              </p:cNvPr>
              <p:cNvSpPr>
                <a:spLocks/>
              </p:cNvSpPr>
              <p:nvPr/>
            </p:nvSpPr>
            <p:spPr bwMode="auto">
              <a:xfrm>
                <a:off x="5106627" y="2330248"/>
                <a:ext cx="324452" cy="137269"/>
              </a:xfrm>
              <a:custGeom>
                <a:avLst/>
                <a:gdLst>
                  <a:gd name="T0" fmla="*/ 96 w 98"/>
                  <a:gd name="T1" fmla="*/ 0 h 41"/>
                  <a:gd name="T2" fmla="*/ 49 w 98"/>
                  <a:gd name="T3" fmla="*/ 15 h 41"/>
                  <a:gd name="T4" fmla="*/ 2 w 98"/>
                  <a:gd name="T5" fmla="*/ 0 h 41"/>
                  <a:gd name="T6" fmla="*/ 0 w 98"/>
                  <a:gd name="T7" fmla="*/ 5 h 41"/>
                  <a:gd name="T8" fmla="*/ 0 w 98"/>
                  <a:gd name="T9" fmla="*/ 20 h 41"/>
                  <a:gd name="T10" fmla="*/ 49 w 98"/>
                  <a:gd name="T11" fmla="*/ 41 h 41"/>
                  <a:gd name="T12" fmla="*/ 98 w 98"/>
                  <a:gd name="T13" fmla="*/ 20 h 41"/>
                  <a:gd name="T14" fmla="*/ 98 w 98"/>
                  <a:gd name="T15" fmla="*/ 5 h 41"/>
                  <a:gd name="T16" fmla="*/ 96 w 98"/>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41">
                    <a:moveTo>
                      <a:pt x="96" y="0"/>
                    </a:moveTo>
                    <a:cubicBezTo>
                      <a:pt x="95" y="9"/>
                      <a:pt x="75" y="15"/>
                      <a:pt x="49" y="15"/>
                    </a:cubicBezTo>
                    <a:cubicBezTo>
                      <a:pt x="24" y="15"/>
                      <a:pt x="3" y="9"/>
                      <a:pt x="2" y="0"/>
                    </a:cubicBezTo>
                    <a:cubicBezTo>
                      <a:pt x="1" y="2"/>
                      <a:pt x="0" y="3"/>
                      <a:pt x="0" y="5"/>
                    </a:cubicBezTo>
                    <a:cubicBezTo>
                      <a:pt x="0" y="20"/>
                      <a:pt x="0" y="20"/>
                      <a:pt x="0" y="20"/>
                    </a:cubicBezTo>
                    <a:cubicBezTo>
                      <a:pt x="0" y="31"/>
                      <a:pt x="22" y="41"/>
                      <a:pt x="49" y="41"/>
                    </a:cubicBezTo>
                    <a:cubicBezTo>
                      <a:pt x="76" y="41"/>
                      <a:pt x="98" y="31"/>
                      <a:pt x="98" y="20"/>
                    </a:cubicBezTo>
                    <a:cubicBezTo>
                      <a:pt x="98" y="5"/>
                      <a:pt x="98" y="5"/>
                      <a:pt x="98" y="5"/>
                    </a:cubicBezTo>
                    <a:cubicBezTo>
                      <a:pt x="98" y="3"/>
                      <a:pt x="97" y="2"/>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a楷体" panose="02000500000000000000" pitchFamily="2" charset="-122"/>
                  <a:ea typeface="+mn-ea"/>
                  <a:cs typeface="+mn-cs"/>
                  <a:sym typeface="YRDZST"/>
                </a:endParaRPr>
              </a:p>
            </p:txBody>
          </p:sp>
          <p:sp>
            <p:nvSpPr>
              <p:cNvPr id="10" name="Oval 83">
                <a:extLst>
                  <a:ext uri="{FF2B5EF4-FFF2-40B4-BE49-F238E27FC236}">
                    <a16:creationId xmlns:a16="http://schemas.microsoft.com/office/drawing/2014/main" id="{D263CE95-ECC1-24A4-BAC8-6B948996E6C8}"/>
                  </a:ext>
                </a:extLst>
              </p:cNvPr>
              <p:cNvSpPr>
                <a:spLocks noChangeArrowheads="1"/>
              </p:cNvSpPr>
              <p:nvPr/>
            </p:nvSpPr>
            <p:spPr bwMode="auto">
              <a:xfrm>
                <a:off x="5111618" y="2260366"/>
                <a:ext cx="316965" cy="1073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a楷体" panose="02000500000000000000" pitchFamily="2" charset="-122"/>
                  <a:ea typeface="+mn-ea"/>
                  <a:cs typeface="+mn-cs"/>
                  <a:sym typeface="YRDZST"/>
                </a:endParaRPr>
              </a:p>
            </p:txBody>
          </p:sp>
        </p:grpSp>
      </p:grpSp>
      <p:sp>
        <p:nvSpPr>
          <p:cNvPr id="30" name="矩形: 圆角 29">
            <a:extLst>
              <a:ext uri="{FF2B5EF4-FFF2-40B4-BE49-F238E27FC236}">
                <a16:creationId xmlns:a16="http://schemas.microsoft.com/office/drawing/2014/main" id="{D13B1F8D-80DA-2CA0-1784-6FB323C5148C}"/>
              </a:ext>
            </a:extLst>
          </p:cNvPr>
          <p:cNvSpPr/>
          <p:nvPr/>
        </p:nvSpPr>
        <p:spPr>
          <a:xfrm>
            <a:off x="8764621" y="3429000"/>
            <a:ext cx="1792030" cy="452336"/>
          </a:xfrm>
          <a:prstGeom prst="round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b="1" dirty="0">
                <a:latin typeface="Calibri" panose="020F0502020204030204" pitchFamily="34" charset="0"/>
                <a:ea typeface="Calibri" panose="020F0502020204030204" pitchFamily="34" charset="0"/>
                <a:cs typeface="Calibri" panose="020F0502020204030204" pitchFamily="34" charset="0"/>
              </a:rPr>
              <a:t>Factory Pattern</a:t>
            </a:r>
            <a:endParaRPr lang="zh-CN" altLang="en-US" b="1" dirty="0">
              <a:latin typeface="Calibri" panose="020F0502020204030204" pitchFamily="34" charset="0"/>
              <a:cs typeface="Calibri" panose="020F0502020204030204" pitchFamily="34" charset="0"/>
            </a:endParaRPr>
          </a:p>
        </p:txBody>
      </p:sp>
      <p:sp>
        <p:nvSpPr>
          <p:cNvPr id="31" name="文本框 30">
            <a:extLst>
              <a:ext uri="{FF2B5EF4-FFF2-40B4-BE49-F238E27FC236}">
                <a16:creationId xmlns:a16="http://schemas.microsoft.com/office/drawing/2014/main" id="{792AA223-944E-0B59-5538-AF7ADC34EBE7}"/>
              </a:ext>
            </a:extLst>
          </p:cNvPr>
          <p:cNvSpPr txBox="1"/>
          <p:nvPr/>
        </p:nvSpPr>
        <p:spPr>
          <a:xfrm>
            <a:off x="7505759" y="3983476"/>
            <a:ext cx="4113060" cy="2002728"/>
          </a:xfrm>
          <a:prstGeom prst="rect">
            <a:avLst/>
          </a:prstGeom>
          <a:noFill/>
        </p:spPr>
        <p:txBody>
          <a:bodyPr wrap="square" rtlCol="0">
            <a:spAutoFit/>
          </a:bodyPr>
          <a:lstStyle/>
          <a:p>
            <a:pPr>
              <a:lnSpc>
                <a:spcPct val="150000"/>
              </a:lnSpc>
            </a:pPr>
            <a:r>
              <a:rPr lang="en-US" altLang="zh-CN" sz="1200" kern="100" dirty="0">
                <a:effectLst/>
                <a:latin typeface="Calibri" panose="020F0502020204030204" pitchFamily="34" charset="0"/>
                <a:ea typeface="Calibri" panose="020F0502020204030204" pitchFamily="34" charset="0"/>
                <a:cs typeface="Calibri" panose="020F0502020204030204" pitchFamily="34" charset="0"/>
              </a:rPr>
              <a:t>Factory pattern is a creational design pattern that defines an interface for creating objects without the need to specify concrete classes, postponing the process of class instantiation to subclasses. Specifically, in this project, the factory pattern showed in sketch left is implemented by </a:t>
            </a:r>
            <a:r>
              <a:rPr lang="en-US" altLang="zh-CN" sz="1200" i="1" kern="100" dirty="0" err="1">
                <a:effectLst/>
                <a:latin typeface="Calibri" panose="020F0502020204030204" pitchFamily="34" charset="0"/>
                <a:ea typeface="Calibri" panose="020F0502020204030204" pitchFamily="34" charset="0"/>
                <a:cs typeface="Calibri" panose="020F0502020204030204" pitchFamily="34" charset="0"/>
              </a:rPr>
              <a:t>AlgorithmFactory</a:t>
            </a:r>
            <a:r>
              <a:rPr lang="en-US" altLang="zh-CN" sz="1200" kern="100" dirty="0">
                <a:effectLst/>
                <a:latin typeface="Calibri" panose="020F0502020204030204" pitchFamily="34" charset="0"/>
                <a:ea typeface="Calibri" panose="020F0502020204030204" pitchFamily="34" charset="0"/>
                <a:cs typeface="Calibri" panose="020F0502020204030204" pitchFamily="34" charset="0"/>
              </a:rPr>
              <a:t> class which receives a game object and returns a concrete algorithm instance through the method </a:t>
            </a:r>
            <a:r>
              <a:rPr lang="en-US" altLang="zh-CN" sz="1200" i="1" kern="100" dirty="0" err="1">
                <a:effectLst/>
                <a:latin typeface="Calibri" panose="020F0502020204030204" pitchFamily="34" charset="0"/>
                <a:ea typeface="Calibri" panose="020F0502020204030204" pitchFamily="34" charset="0"/>
                <a:cs typeface="Calibri" panose="020F0502020204030204" pitchFamily="34" charset="0"/>
              </a:rPr>
              <a:t>createAlgorithm</a:t>
            </a:r>
            <a:r>
              <a:rPr lang="en-US" altLang="zh-CN" sz="1200" i="1" kern="100" dirty="0">
                <a:effectLst/>
                <a:latin typeface="Calibri" panose="020F0502020204030204" pitchFamily="34" charset="0"/>
                <a:ea typeface="Calibri" panose="020F0502020204030204" pitchFamily="34" charset="0"/>
                <a:cs typeface="Calibri" panose="020F0502020204030204" pitchFamily="34" charset="0"/>
              </a:rPr>
              <a:t>()</a:t>
            </a:r>
            <a:r>
              <a:rPr lang="en-US" altLang="zh-CN" sz="1200" kern="100" dirty="0">
                <a:effectLst/>
                <a:latin typeface="Calibri" panose="020F0502020204030204" pitchFamily="34" charset="0"/>
                <a:ea typeface="Calibri" panose="020F0502020204030204" pitchFamily="34" charset="0"/>
                <a:cs typeface="Calibri" panose="020F0502020204030204" pitchFamily="34" charset="0"/>
              </a:rPr>
              <a:t>. </a:t>
            </a:r>
            <a:endParaRPr lang="zh-CN" altLang="en-US" sz="1200" dirty="0">
              <a:latin typeface="Calibri" panose="020F0502020204030204" pitchFamily="34" charset="0"/>
              <a:cs typeface="Calibri" panose="020F0502020204030204" pitchFamily="34" charset="0"/>
            </a:endParaRPr>
          </a:p>
        </p:txBody>
      </p:sp>
    </p:spTree>
  </p:cSld>
  <p:clrMapOvr>
    <a:masterClrMapping/>
  </p:clrMapOvr>
  <mc:AlternateContent xmlns:mc="http://schemas.openxmlformats.org/markup-compatibility/2006" xmlns:p14="http://schemas.microsoft.com/office/powerpoint/2010/main">
    <mc:Choice Requires="p14">
      <p:transition spd="slow" p14:dur="1500" advClick="0" advTm="1000">
        <p:random/>
      </p:transition>
    </mc:Choice>
    <mc:Fallback xmlns="">
      <p:transition spd="slow" advClick="0" advTm="100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fltVal val="0"/>
                                          </p:val>
                                        </p:tav>
                                        <p:tav tm="100000">
                                          <p:val>
                                            <p:strVal val="#ppt_w"/>
                                          </p:val>
                                        </p:tav>
                                      </p:tavLst>
                                    </p:anim>
                                    <p:anim calcmode="lin" valueType="num">
                                      <p:cBhvr>
                                        <p:cTn id="8" dur="1000" fill="hold"/>
                                        <p:tgtEl>
                                          <p:spTgt spid="4"/>
                                        </p:tgtEl>
                                        <p:attrNameLst>
                                          <p:attrName>ppt_h</p:attrName>
                                        </p:attrNameLst>
                                      </p:cBhvr>
                                      <p:tavLst>
                                        <p:tav tm="0">
                                          <p:val>
                                            <p:fltVal val="0"/>
                                          </p:val>
                                        </p:tav>
                                        <p:tav tm="100000">
                                          <p:val>
                                            <p:strVal val="#ppt_h"/>
                                          </p:val>
                                        </p:tav>
                                      </p:tavLst>
                                    </p:anim>
                                    <p:animEffect transition="in" filter="fade">
                                      <p:cBhvr>
                                        <p:cTn id="9"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26E22CA5-7E14-424D-B877-ABEFCF30EBE9}"/>
              </a:ext>
            </a:extLst>
          </p:cNvPr>
          <p:cNvGrpSpPr>
            <a:grpSpLocks noChangeAspect="1"/>
          </p:cNvGrpSpPr>
          <p:nvPr/>
        </p:nvGrpSpPr>
        <p:grpSpPr bwMode="auto">
          <a:xfrm>
            <a:off x="4327011" y="4250018"/>
            <a:ext cx="1607875" cy="1480731"/>
            <a:chOff x="8554750" y="2712235"/>
            <a:chExt cx="2542687" cy="2340000"/>
          </a:xfrm>
        </p:grpSpPr>
        <p:sp>
          <p:nvSpPr>
            <p:cNvPr id="8" name="Oval 7">
              <a:extLst>
                <a:ext uri="{FF2B5EF4-FFF2-40B4-BE49-F238E27FC236}">
                  <a16:creationId xmlns:a16="http://schemas.microsoft.com/office/drawing/2014/main" id="{1BA4257F-C438-4D22-9FC7-5334AD95EB75}"/>
                </a:ext>
              </a:extLst>
            </p:cNvPr>
            <p:cNvSpPr/>
            <p:nvPr/>
          </p:nvSpPr>
          <p:spPr>
            <a:xfrm>
              <a:off x="8554750" y="3517721"/>
              <a:ext cx="147685" cy="147584"/>
            </a:xfrm>
            <a:prstGeom prst="ellipse">
              <a:avLst/>
            </a:prstGeom>
            <a:solidFill>
              <a:schemeClr val="accent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a楷体" panose="02000500000000000000" pitchFamily="2" charset="-122"/>
                <a:ea typeface="Aa楷体" panose="02000500000000000000" pitchFamily="2" charset="-122"/>
                <a:cs typeface="+mn-cs"/>
                <a:sym typeface="YRDZST"/>
              </a:endParaRPr>
            </a:p>
          </p:txBody>
        </p:sp>
        <p:sp>
          <p:nvSpPr>
            <p:cNvPr id="9" name="Oval 8">
              <a:extLst>
                <a:ext uri="{FF2B5EF4-FFF2-40B4-BE49-F238E27FC236}">
                  <a16:creationId xmlns:a16="http://schemas.microsoft.com/office/drawing/2014/main" id="{7442F520-32EC-4B6B-A321-C6E53FE8AFEA}"/>
                </a:ext>
              </a:extLst>
            </p:cNvPr>
            <p:cNvSpPr/>
            <p:nvPr/>
          </p:nvSpPr>
          <p:spPr>
            <a:xfrm flipV="1">
              <a:off x="8650835" y="4260973"/>
              <a:ext cx="186831" cy="186703"/>
            </a:xfrm>
            <a:prstGeom prst="ellipse">
              <a:avLst/>
            </a:prstGeom>
            <a:solidFill>
              <a:schemeClr val="accent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a楷体" panose="02000500000000000000" pitchFamily="2" charset="-122"/>
                <a:ea typeface="Aa楷体" panose="02000500000000000000" pitchFamily="2" charset="-122"/>
                <a:cs typeface="+mn-cs"/>
                <a:sym typeface="YRDZST"/>
              </a:endParaRPr>
            </a:p>
          </p:txBody>
        </p:sp>
        <p:sp>
          <p:nvSpPr>
            <p:cNvPr id="10" name="Oval 9">
              <a:extLst>
                <a:ext uri="{FF2B5EF4-FFF2-40B4-BE49-F238E27FC236}">
                  <a16:creationId xmlns:a16="http://schemas.microsoft.com/office/drawing/2014/main" id="{492916FE-C7A5-4768-BD04-93AF32A2197D}"/>
                </a:ext>
              </a:extLst>
            </p:cNvPr>
            <p:cNvSpPr/>
            <p:nvPr/>
          </p:nvSpPr>
          <p:spPr>
            <a:xfrm flipV="1">
              <a:off x="8780727" y="4524134"/>
              <a:ext cx="188611" cy="186703"/>
            </a:xfrm>
            <a:prstGeom prst="ellipse">
              <a:avLst/>
            </a:prstGeom>
            <a:solidFill>
              <a:schemeClr val="accent1">
                <a:lumMod val="40000"/>
                <a:lumOff val="6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a楷体" panose="02000500000000000000" pitchFamily="2" charset="-122"/>
                <a:ea typeface="Aa楷体" panose="02000500000000000000" pitchFamily="2" charset="-122"/>
                <a:cs typeface="+mn-cs"/>
                <a:sym typeface="YRDZST"/>
              </a:endParaRPr>
            </a:p>
          </p:txBody>
        </p:sp>
        <p:sp>
          <p:nvSpPr>
            <p:cNvPr id="11" name="Oval 10">
              <a:extLst>
                <a:ext uri="{FF2B5EF4-FFF2-40B4-BE49-F238E27FC236}">
                  <a16:creationId xmlns:a16="http://schemas.microsoft.com/office/drawing/2014/main" id="{3E1BBEF9-BFB4-4D4B-956C-1D49D6CF12FE}"/>
                </a:ext>
              </a:extLst>
            </p:cNvPr>
            <p:cNvSpPr/>
            <p:nvPr/>
          </p:nvSpPr>
          <p:spPr>
            <a:xfrm flipV="1">
              <a:off x="9095672" y="4364104"/>
              <a:ext cx="295372" cy="295167"/>
            </a:xfrm>
            <a:prstGeom prst="ellipse">
              <a:avLst/>
            </a:prstGeom>
            <a:solidFill>
              <a:schemeClr val="accent1">
                <a:lumMod val="40000"/>
                <a:lumOff val="6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a楷体" panose="02000500000000000000" pitchFamily="2" charset="-122"/>
                <a:ea typeface="Aa楷体" panose="02000500000000000000" pitchFamily="2" charset="-122"/>
                <a:cs typeface="+mn-cs"/>
                <a:sym typeface="YRDZST"/>
              </a:endParaRPr>
            </a:p>
          </p:txBody>
        </p:sp>
        <p:sp>
          <p:nvSpPr>
            <p:cNvPr id="12" name="Oval 11">
              <a:extLst>
                <a:ext uri="{FF2B5EF4-FFF2-40B4-BE49-F238E27FC236}">
                  <a16:creationId xmlns:a16="http://schemas.microsoft.com/office/drawing/2014/main" id="{6800E174-BDA3-4B31-9F34-3C46FD148755}"/>
                </a:ext>
              </a:extLst>
            </p:cNvPr>
            <p:cNvSpPr/>
            <p:nvPr/>
          </p:nvSpPr>
          <p:spPr>
            <a:xfrm flipV="1">
              <a:off x="9359015" y="4760624"/>
              <a:ext cx="186831" cy="186702"/>
            </a:xfrm>
            <a:prstGeom prst="ellipse">
              <a:avLst/>
            </a:prstGeom>
            <a:solidFill>
              <a:schemeClr val="accent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a楷体" panose="02000500000000000000" pitchFamily="2" charset="-122"/>
                <a:ea typeface="Aa楷体" panose="02000500000000000000" pitchFamily="2" charset="-122"/>
                <a:cs typeface="+mn-cs"/>
                <a:sym typeface="YRDZST"/>
              </a:endParaRPr>
            </a:p>
          </p:txBody>
        </p:sp>
        <p:sp>
          <p:nvSpPr>
            <p:cNvPr id="13" name="Oval 12">
              <a:extLst>
                <a:ext uri="{FF2B5EF4-FFF2-40B4-BE49-F238E27FC236}">
                  <a16:creationId xmlns:a16="http://schemas.microsoft.com/office/drawing/2014/main" id="{54E1EAA7-DE6F-4340-927D-D387D01D581B}"/>
                </a:ext>
              </a:extLst>
            </p:cNvPr>
            <p:cNvSpPr/>
            <p:nvPr/>
          </p:nvSpPr>
          <p:spPr>
            <a:xfrm flipV="1">
              <a:off x="9700650" y="4865532"/>
              <a:ext cx="186831" cy="186703"/>
            </a:xfrm>
            <a:prstGeom prst="ellipse">
              <a:avLst/>
            </a:prstGeom>
            <a:solidFill>
              <a:schemeClr val="accent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a楷体" panose="02000500000000000000" pitchFamily="2" charset="-122"/>
                <a:ea typeface="Aa楷体" panose="02000500000000000000" pitchFamily="2" charset="-122"/>
                <a:cs typeface="+mn-cs"/>
                <a:sym typeface="YRDZST"/>
              </a:endParaRPr>
            </a:p>
          </p:txBody>
        </p:sp>
        <p:sp>
          <p:nvSpPr>
            <p:cNvPr id="14" name="Oval 13">
              <a:extLst>
                <a:ext uri="{FF2B5EF4-FFF2-40B4-BE49-F238E27FC236}">
                  <a16:creationId xmlns:a16="http://schemas.microsoft.com/office/drawing/2014/main" id="{D69ABA67-F90E-4528-AE43-9377F00555C8}"/>
                </a:ext>
              </a:extLst>
            </p:cNvPr>
            <p:cNvSpPr/>
            <p:nvPr/>
          </p:nvSpPr>
          <p:spPr>
            <a:xfrm flipV="1">
              <a:off x="10120576" y="4680608"/>
              <a:ext cx="186831" cy="188480"/>
            </a:xfrm>
            <a:prstGeom prst="ellipse">
              <a:avLst/>
            </a:prstGeom>
            <a:solidFill>
              <a:schemeClr val="accent1">
                <a:lumMod val="40000"/>
                <a:lumOff val="6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a楷体" panose="02000500000000000000" pitchFamily="2" charset="-122"/>
                <a:ea typeface="Aa楷体" panose="02000500000000000000" pitchFamily="2" charset="-122"/>
                <a:cs typeface="+mn-cs"/>
                <a:sym typeface="YRDZST"/>
              </a:endParaRPr>
            </a:p>
          </p:txBody>
        </p:sp>
        <p:sp>
          <p:nvSpPr>
            <p:cNvPr id="15" name="Oval 14">
              <a:extLst>
                <a:ext uri="{FF2B5EF4-FFF2-40B4-BE49-F238E27FC236}">
                  <a16:creationId xmlns:a16="http://schemas.microsoft.com/office/drawing/2014/main" id="{FC8F9A10-2023-4BA9-9CE0-30765E9A5336}"/>
                </a:ext>
              </a:extLst>
            </p:cNvPr>
            <p:cNvSpPr/>
            <p:nvPr/>
          </p:nvSpPr>
          <p:spPr>
            <a:xfrm flipV="1">
              <a:off x="10382139" y="4442341"/>
              <a:ext cx="295372" cy="295167"/>
            </a:xfrm>
            <a:prstGeom prst="ellipse">
              <a:avLst/>
            </a:prstGeom>
            <a:solidFill>
              <a:schemeClr val="accent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a楷体" panose="02000500000000000000" pitchFamily="2" charset="-122"/>
                <a:ea typeface="Aa楷体" panose="02000500000000000000" pitchFamily="2" charset="-122"/>
                <a:cs typeface="+mn-cs"/>
                <a:sym typeface="YRDZST"/>
              </a:endParaRPr>
            </a:p>
          </p:txBody>
        </p:sp>
        <p:sp>
          <p:nvSpPr>
            <p:cNvPr id="16" name="Oval 15">
              <a:extLst>
                <a:ext uri="{FF2B5EF4-FFF2-40B4-BE49-F238E27FC236}">
                  <a16:creationId xmlns:a16="http://schemas.microsoft.com/office/drawing/2014/main" id="{0BB986CF-71A8-4317-A924-0458CBBCA1AC}"/>
                </a:ext>
              </a:extLst>
            </p:cNvPr>
            <p:cNvSpPr/>
            <p:nvPr/>
          </p:nvSpPr>
          <p:spPr>
            <a:xfrm flipV="1">
              <a:off x="10750465" y="4260973"/>
              <a:ext cx="186831" cy="186703"/>
            </a:xfrm>
            <a:prstGeom prst="ellipse">
              <a:avLst/>
            </a:prstGeom>
            <a:solidFill>
              <a:schemeClr val="accent1">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a楷体" panose="02000500000000000000" pitchFamily="2" charset="-122"/>
                <a:ea typeface="Aa楷体" panose="02000500000000000000" pitchFamily="2" charset="-122"/>
                <a:cs typeface="+mn-cs"/>
                <a:sym typeface="YRDZST"/>
              </a:endParaRPr>
            </a:p>
          </p:txBody>
        </p:sp>
        <p:sp>
          <p:nvSpPr>
            <p:cNvPr id="17" name="Oval 16">
              <a:extLst>
                <a:ext uri="{FF2B5EF4-FFF2-40B4-BE49-F238E27FC236}">
                  <a16:creationId xmlns:a16="http://schemas.microsoft.com/office/drawing/2014/main" id="{92E1E38F-401C-49E9-BC4E-870F97C9F0BE}"/>
                </a:ext>
              </a:extLst>
            </p:cNvPr>
            <p:cNvSpPr/>
            <p:nvPr/>
          </p:nvSpPr>
          <p:spPr>
            <a:xfrm flipV="1">
              <a:off x="10907047" y="3972918"/>
              <a:ext cx="188611" cy="186703"/>
            </a:xfrm>
            <a:prstGeom prst="ellipse">
              <a:avLst/>
            </a:prstGeom>
            <a:solidFill>
              <a:schemeClr val="accent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a楷体" panose="02000500000000000000" pitchFamily="2" charset="-122"/>
                <a:ea typeface="Aa楷体" panose="02000500000000000000" pitchFamily="2" charset="-122"/>
                <a:cs typeface="+mn-cs"/>
                <a:sym typeface="YRDZST"/>
              </a:endParaRPr>
            </a:p>
          </p:txBody>
        </p:sp>
        <p:sp>
          <p:nvSpPr>
            <p:cNvPr id="18" name="Oval 17">
              <a:extLst>
                <a:ext uri="{FF2B5EF4-FFF2-40B4-BE49-F238E27FC236}">
                  <a16:creationId xmlns:a16="http://schemas.microsoft.com/office/drawing/2014/main" id="{A38B3CB5-B738-46D4-A0CD-FF11D36382E3}"/>
                </a:ext>
              </a:extLst>
            </p:cNvPr>
            <p:cNvSpPr/>
            <p:nvPr/>
          </p:nvSpPr>
          <p:spPr>
            <a:xfrm flipV="1">
              <a:off x="9542287" y="4228967"/>
              <a:ext cx="482204" cy="481870"/>
            </a:xfrm>
            <a:prstGeom prst="ellipse">
              <a:avLst/>
            </a:prstGeom>
            <a:solidFill>
              <a:schemeClr val="accent1">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a楷体" panose="02000500000000000000" pitchFamily="2" charset="-122"/>
                <a:ea typeface="Aa楷体" panose="02000500000000000000" pitchFamily="2" charset="-122"/>
                <a:cs typeface="+mn-cs"/>
                <a:sym typeface="YRDZST"/>
              </a:endParaRPr>
            </a:p>
          </p:txBody>
        </p:sp>
        <p:sp>
          <p:nvSpPr>
            <p:cNvPr id="19" name="Oval 18">
              <a:extLst>
                <a:ext uri="{FF2B5EF4-FFF2-40B4-BE49-F238E27FC236}">
                  <a16:creationId xmlns:a16="http://schemas.microsoft.com/office/drawing/2014/main" id="{DA6D0212-EB43-4E7F-AAAE-2CA7DC5A5996}"/>
                </a:ext>
              </a:extLst>
            </p:cNvPr>
            <p:cNvSpPr/>
            <p:nvPr/>
          </p:nvSpPr>
          <p:spPr>
            <a:xfrm flipV="1">
              <a:off x="8675746" y="3183435"/>
              <a:ext cx="295372" cy="293390"/>
            </a:xfrm>
            <a:prstGeom prst="ellipse">
              <a:avLst/>
            </a:prstGeom>
            <a:solidFill>
              <a:schemeClr val="accent1">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a楷体" panose="02000500000000000000" pitchFamily="2" charset="-122"/>
                <a:ea typeface="Aa楷体" panose="02000500000000000000" pitchFamily="2" charset="-122"/>
                <a:cs typeface="+mn-cs"/>
                <a:sym typeface="YRDZST"/>
              </a:endParaRPr>
            </a:p>
          </p:txBody>
        </p:sp>
        <p:sp>
          <p:nvSpPr>
            <p:cNvPr id="20" name="Oval 19">
              <a:extLst>
                <a:ext uri="{FF2B5EF4-FFF2-40B4-BE49-F238E27FC236}">
                  <a16:creationId xmlns:a16="http://schemas.microsoft.com/office/drawing/2014/main" id="{BC98F444-DD90-4080-9A6E-AE6340804920}"/>
                </a:ext>
              </a:extLst>
            </p:cNvPr>
            <p:cNvSpPr/>
            <p:nvPr/>
          </p:nvSpPr>
          <p:spPr>
            <a:xfrm flipV="1">
              <a:off x="9070761" y="2838481"/>
              <a:ext cx="428822" cy="428526"/>
            </a:xfrm>
            <a:prstGeom prst="ellipse">
              <a:avLst/>
            </a:prstGeom>
            <a:solidFill>
              <a:schemeClr val="accent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a楷体" panose="02000500000000000000" pitchFamily="2" charset="-122"/>
                <a:ea typeface="Aa楷体" panose="02000500000000000000" pitchFamily="2" charset="-122"/>
                <a:cs typeface="+mn-cs"/>
                <a:sym typeface="YRDZST"/>
              </a:endParaRPr>
            </a:p>
          </p:txBody>
        </p:sp>
        <p:sp>
          <p:nvSpPr>
            <p:cNvPr id="21" name="Oval 20">
              <a:extLst>
                <a:ext uri="{FF2B5EF4-FFF2-40B4-BE49-F238E27FC236}">
                  <a16:creationId xmlns:a16="http://schemas.microsoft.com/office/drawing/2014/main" id="{6DBC1977-F414-41C4-A5CE-86086291AE06}"/>
                </a:ext>
              </a:extLst>
            </p:cNvPr>
            <p:cNvSpPr/>
            <p:nvPr/>
          </p:nvSpPr>
          <p:spPr>
            <a:xfrm flipV="1">
              <a:off x="9622358" y="2738906"/>
              <a:ext cx="186831" cy="186703"/>
            </a:xfrm>
            <a:prstGeom prst="ellipse">
              <a:avLst/>
            </a:prstGeom>
            <a:solidFill>
              <a:schemeClr val="accent1">
                <a:lumMod val="40000"/>
                <a:lumOff val="6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a楷体" panose="02000500000000000000" pitchFamily="2" charset="-122"/>
                <a:ea typeface="Aa楷体" panose="02000500000000000000" pitchFamily="2" charset="-122"/>
                <a:cs typeface="+mn-cs"/>
                <a:sym typeface="YRDZST"/>
              </a:endParaRPr>
            </a:p>
          </p:txBody>
        </p:sp>
        <p:sp>
          <p:nvSpPr>
            <p:cNvPr id="22" name="Oval 21">
              <a:extLst>
                <a:ext uri="{FF2B5EF4-FFF2-40B4-BE49-F238E27FC236}">
                  <a16:creationId xmlns:a16="http://schemas.microsoft.com/office/drawing/2014/main" id="{887B147F-59C4-4F68-8629-98BD81BD8447}"/>
                </a:ext>
              </a:extLst>
            </p:cNvPr>
            <p:cNvSpPr/>
            <p:nvPr/>
          </p:nvSpPr>
          <p:spPr>
            <a:xfrm flipV="1">
              <a:off x="9727339" y="2971840"/>
              <a:ext cx="293593" cy="295167"/>
            </a:xfrm>
            <a:prstGeom prst="ellipse">
              <a:avLst/>
            </a:prstGeom>
            <a:solidFill>
              <a:schemeClr val="accent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a楷体" panose="02000500000000000000" pitchFamily="2" charset="-122"/>
                <a:ea typeface="Aa楷体" panose="02000500000000000000" pitchFamily="2" charset="-122"/>
                <a:cs typeface="+mn-cs"/>
                <a:sym typeface="YRDZST"/>
              </a:endParaRPr>
            </a:p>
          </p:txBody>
        </p:sp>
        <p:sp>
          <p:nvSpPr>
            <p:cNvPr id="23" name="Oval 22">
              <a:extLst>
                <a:ext uri="{FF2B5EF4-FFF2-40B4-BE49-F238E27FC236}">
                  <a16:creationId xmlns:a16="http://schemas.microsoft.com/office/drawing/2014/main" id="{0FE9AAA2-F2AA-436F-AFC2-2DBB9F7F9539}"/>
                </a:ext>
              </a:extLst>
            </p:cNvPr>
            <p:cNvSpPr/>
            <p:nvPr/>
          </p:nvSpPr>
          <p:spPr>
            <a:xfrm flipV="1">
              <a:off x="9988904" y="2712235"/>
              <a:ext cx="186831" cy="186702"/>
            </a:xfrm>
            <a:prstGeom prst="ellipse">
              <a:avLst/>
            </a:prstGeom>
            <a:solidFill>
              <a:schemeClr val="accent1">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a楷体" panose="02000500000000000000" pitchFamily="2" charset="-122"/>
                <a:ea typeface="Aa楷体" panose="02000500000000000000" pitchFamily="2" charset="-122"/>
                <a:cs typeface="+mn-cs"/>
                <a:sym typeface="YRDZST"/>
              </a:endParaRPr>
            </a:p>
          </p:txBody>
        </p:sp>
        <p:sp>
          <p:nvSpPr>
            <p:cNvPr id="24" name="Oval 23">
              <a:extLst>
                <a:ext uri="{FF2B5EF4-FFF2-40B4-BE49-F238E27FC236}">
                  <a16:creationId xmlns:a16="http://schemas.microsoft.com/office/drawing/2014/main" id="{86D42EEB-F38F-4725-A61F-A5E26EFAC759}"/>
                </a:ext>
              </a:extLst>
            </p:cNvPr>
            <p:cNvSpPr/>
            <p:nvPr/>
          </p:nvSpPr>
          <p:spPr>
            <a:xfrm flipV="1">
              <a:off x="10225557" y="2891824"/>
              <a:ext cx="428823" cy="428526"/>
            </a:xfrm>
            <a:prstGeom prst="ellipse">
              <a:avLst/>
            </a:prstGeom>
            <a:solidFill>
              <a:schemeClr val="accent1">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a楷体" panose="02000500000000000000" pitchFamily="2" charset="-122"/>
                <a:ea typeface="Aa楷体" panose="02000500000000000000" pitchFamily="2" charset="-122"/>
                <a:cs typeface="+mn-cs"/>
                <a:sym typeface="YRDZST"/>
              </a:endParaRPr>
            </a:p>
          </p:txBody>
        </p:sp>
        <p:sp>
          <p:nvSpPr>
            <p:cNvPr id="25" name="Oval 24">
              <a:extLst>
                <a:ext uri="{FF2B5EF4-FFF2-40B4-BE49-F238E27FC236}">
                  <a16:creationId xmlns:a16="http://schemas.microsoft.com/office/drawing/2014/main" id="{8F0AA587-C6DD-406F-A6E2-6F21ACF707F4}"/>
                </a:ext>
              </a:extLst>
            </p:cNvPr>
            <p:cNvSpPr/>
            <p:nvPr/>
          </p:nvSpPr>
          <p:spPr>
            <a:xfrm flipV="1">
              <a:off x="10802065" y="3130092"/>
              <a:ext cx="295372" cy="295167"/>
            </a:xfrm>
            <a:prstGeom prst="ellipse">
              <a:avLst/>
            </a:prstGeom>
            <a:solidFill>
              <a:schemeClr val="accent1">
                <a:lumMod val="40000"/>
                <a:lumOff val="6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a楷体" panose="02000500000000000000" pitchFamily="2" charset="-122"/>
                <a:ea typeface="Aa楷体" panose="02000500000000000000" pitchFamily="2" charset="-122"/>
                <a:cs typeface="+mn-cs"/>
                <a:sym typeface="YRDZST"/>
              </a:endParaRPr>
            </a:p>
          </p:txBody>
        </p:sp>
      </p:grpSp>
      <p:grpSp>
        <p:nvGrpSpPr>
          <p:cNvPr id="26" name="Group 25">
            <a:extLst>
              <a:ext uri="{FF2B5EF4-FFF2-40B4-BE49-F238E27FC236}">
                <a16:creationId xmlns:a16="http://schemas.microsoft.com/office/drawing/2014/main" id="{16692297-CFE3-4900-9615-5BEC58E7A8E8}"/>
              </a:ext>
            </a:extLst>
          </p:cNvPr>
          <p:cNvGrpSpPr>
            <a:grpSpLocks noChangeAspect="1"/>
          </p:cNvGrpSpPr>
          <p:nvPr/>
        </p:nvGrpSpPr>
        <p:grpSpPr bwMode="auto">
          <a:xfrm flipH="1" flipV="1">
            <a:off x="218484" y="4268178"/>
            <a:ext cx="1686149" cy="1531275"/>
            <a:chOff x="1254638" y="2413516"/>
            <a:chExt cx="2040047" cy="1851429"/>
          </a:xfrm>
        </p:grpSpPr>
        <p:sp>
          <p:nvSpPr>
            <p:cNvPr id="27" name="Oval 26">
              <a:extLst>
                <a:ext uri="{FF2B5EF4-FFF2-40B4-BE49-F238E27FC236}">
                  <a16:creationId xmlns:a16="http://schemas.microsoft.com/office/drawing/2014/main" id="{B060A8F5-EC8F-4F79-8EEF-C8081F51CC23}"/>
                </a:ext>
              </a:extLst>
            </p:cNvPr>
            <p:cNvSpPr/>
            <p:nvPr/>
          </p:nvSpPr>
          <p:spPr>
            <a:xfrm>
              <a:off x="1358895" y="2890805"/>
              <a:ext cx="147931" cy="149241"/>
            </a:xfrm>
            <a:prstGeom prst="ellipse">
              <a:avLst/>
            </a:prstGeom>
            <a:solidFill>
              <a:schemeClr val="bg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a楷体" panose="02000500000000000000" pitchFamily="2" charset="-122"/>
                <a:ea typeface="Aa楷体" panose="02000500000000000000" pitchFamily="2" charset="-122"/>
                <a:cs typeface="+mn-cs"/>
                <a:sym typeface="YRDZST"/>
              </a:endParaRPr>
            </a:p>
          </p:txBody>
        </p:sp>
        <p:sp>
          <p:nvSpPr>
            <p:cNvPr id="28" name="Oval 27">
              <a:extLst>
                <a:ext uri="{FF2B5EF4-FFF2-40B4-BE49-F238E27FC236}">
                  <a16:creationId xmlns:a16="http://schemas.microsoft.com/office/drawing/2014/main" id="{72C03037-E16E-4E8F-87CC-3B6B69D98721}"/>
                </a:ext>
              </a:extLst>
            </p:cNvPr>
            <p:cNvSpPr/>
            <p:nvPr/>
          </p:nvSpPr>
          <p:spPr>
            <a:xfrm>
              <a:off x="1461742" y="2683839"/>
              <a:ext cx="149340" cy="147833"/>
            </a:xfrm>
            <a:prstGeom prst="ellipse">
              <a:avLst/>
            </a:prstGeom>
            <a:solidFill>
              <a:schemeClr val="tx1">
                <a:lumMod val="65000"/>
                <a:lumOff val="3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a楷体" panose="02000500000000000000" pitchFamily="2" charset="-122"/>
                <a:ea typeface="Aa楷体" panose="02000500000000000000" pitchFamily="2" charset="-122"/>
                <a:cs typeface="+mn-cs"/>
                <a:sym typeface="YRDZST"/>
              </a:endParaRPr>
            </a:p>
          </p:txBody>
        </p:sp>
        <p:sp>
          <p:nvSpPr>
            <p:cNvPr id="29" name="Oval 28">
              <a:extLst>
                <a:ext uri="{FF2B5EF4-FFF2-40B4-BE49-F238E27FC236}">
                  <a16:creationId xmlns:a16="http://schemas.microsoft.com/office/drawing/2014/main" id="{A4D61D1C-D7D4-48BE-BC99-1E63C88C441A}"/>
                </a:ext>
              </a:extLst>
            </p:cNvPr>
            <p:cNvSpPr/>
            <p:nvPr/>
          </p:nvSpPr>
          <p:spPr>
            <a:xfrm>
              <a:off x="1711113" y="2724669"/>
              <a:ext cx="233873" cy="233716"/>
            </a:xfrm>
            <a:prstGeom prst="ellipse">
              <a:avLst/>
            </a:prstGeom>
            <a:solidFill>
              <a:schemeClr val="tx1">
                <a:lumMod val="65000"/>
                <a:lumOff val="3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a楷体" panose="02000500000000000000" pitchFamily="2" charset="-122"/>
                <a:ea typeface="Aa楷体" panose="02000500000000000000" pitchFamily="2" charset="-122"/>
                <a:cs typeface="+mn-cs"/>
                <a:sym typeface="YRDZST"/>
              </a:endParaRPr>
            </a:p>
          </p:txBody>
        </p:sp>
        <p:sp>
          <p:nvSpPr>
            <p:cNvPr id="30" name="Oval 29">
              <a:extLst>
                <a:ext uri="{FF2B5EF4-FFF2-40B4-BE49-F238E27FC236}">
                  <a16:creationId xmlns:a16="http://schemas.microsoft.com/office/drawing/2014/main" id="{C276DB0E-1296-4A4E-905D-AB7A6AE098AE}"/>
                </a:ext>
              </a:extLst>
            </p:cNvPr>
            <p:cNvSpPr/>
            <p:nvPr/>
          </p:nvSpPr>
          <p:spPr>
            <a:xfrm>
              <a:off x="1919626" y="2496584"/>
              <a:ext cx="147931" cy="147832"/>
            </a:xfrm>
            <a:prstGeom prst="ellipse">
              <a:avLst/>
            </a:prstGeom>
            <a:solidFill>
              <a:schemeClr val="bg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a楷体" panose="02000500000000000000" pitchFamily="2" charset="-122"/>
                <a:ea typeface="Aa楷体" panose="02000500000000000000" pitchFamily="2" charset="-122"/>
                <a:cs typeface="+mn-cs"/>
                <a:sym typeface="YRDZST"/>
              </a:endParaRPr>
            </a:p>
          </p:txBody>
        </p:sp>
        <p:sp>
          <p:nvSpPr>
            <p:cNvPr id="31" name="Oval 30">
              <a:extLst>
                <a:ext uri="{FF2B5EF4-FFF2-40B4-BE49-F238E27FC236}">
                  <a16:creationId xmlns:a16="http://schemas.microsoft.com/office/drawing/2014/main" id="{CEDDAAB6-321D-47FA-BFB2-F220673F3350}"/>
                </a:ext>
              </a:extLst>
            </p:cNvPr>
            <p:cNvSpPr/>
            <p:nvPr/>
          </p:nvSpPr>
          <p:spPr>
            <a:xfrm>
              <a:off x="2188720" y="2413516"/>
              <a:ext cx="149340" cy="147833"/>
            </a:xfrm>
            <a:prstGeom prst="ellipse">
              <a:avLst/>
            </a:prstGeom>
            <a:solidFill>
              <a:schemeClr val="bg2">
                <a:lumMod val="2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a楷体" panose="02000500000000000000" pitchFamily="2" charset="-122"/>
                <a:ea typeface="Aa楷体" panose="02000500000000000000" pitchFamily="2" charset="-122"/>
                <a:cs typeface="+mn-cs"/>
                <a:sym typeface="YRDZST"/>
              </a:endParaRPr>
            </a:p>
          </p:txBody>
        </p:sp>
        <p:sp>
          <p:nvSpPr>
            <p:cNvPr id="32" name="Oval 31">
              <a:extLst>
                <a:ext uri="{FF2B5EF4-FFF2-40B4-BE49-F238E27FC236}">
                  <a16:creationId xmlns:a16="http://schemas.microsoft.com/office/drawing/2014/main" id="{D477F8DA-080A-407D-A73A-6450E9C7FAF6}"/>
                </a:ext>
              </a:extLst>
            </p:cNvPr>
            <p:cNvSpPr/>
            <p:nvPr/>
          </p:nvSpPr>
          <p:spPr>
            <a:xfrm>
              <a:off x="2521214" y="2558533"/>
              <a:ext cx="149340" cy="149241"/>
            </a:xfrm>
            <a:prstGeom prst="ellipse">
              <a:avLst/>
            </a:prstGeom>
            <a:solidFill>
              <a:schemeClr val="tx1">
                <a:lumMod val="65000"/>
                <a:lumOff val="3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a楷体" panose="02000500000000000000" pitchFamily="2" charset="-122"/>
                <a:ea typeface="Aa楷体" panose="02000500000000000000" pitchFamily="2" charset="-122"/>
                <a:cs typeface="+mn-cs"/>
                <a:sym typeface="YRDZST"/>
              </a:endParaRPr>
            </a:p>
          </p:txBody>
        </p:sp>
        <p:sp>
          <p:nvSpPr>
            <p:cNvPr id="33" name="Oval 32">
              <a:extLst>
                <a:ext uri="{FF2B5EF4-FFF2-40B4-BE49-F238E27FC236}">
                  <a16:creationId xmlns:a16="http://schemas.microsoft.com/office/drawing/2014/main" id="{BD8BFA39-58AD-42A5-8D0F-0F5D9FD64BD6}"/>
                </a:ext>
              </a:extLst>
            </p:cNvPr>
            <p:cNvSpPr/>
            <p:nvPr/>
          </p:nvSpPr>
          <p:spPr>
            <a:xfrm>
              <a:off x="2729727" y="2662720"/>
              <a:ext cx="232464" cy="233716"/>
            </a:xfrm>
            <a:prstGeom prst="ellipse">
              <a:avLst/>
            </a:prstGeom>
            <a:solidFill>
              <a:schemeClr val="bg2">
                <a:lumMod val="2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a楷体" panose="02000500000000000000" pitchFamily="2" charset="-122"/>
                <a:ea typeface="Aa楷体" panose="02000500000000000000" pitchFamily="2" charset="-122"/>
                <a:cs typeface="+mn-cs"/>
                <a:sym typeface="YRDZST"/>
              </a:endParaRPr>
            </a:p>
          </p:txBody>
        </p:sp>
        <p:sp>
          <p:nvSpPr>
            <p:cNvPr id="34" name="Oval 33">
              <a:extLst>
                <a:ext uri="{FF2B5EF4-FFF2-40B4-BE49-F238E27FC236}">
                  <a16:creationId xmlns:a16="http://schemas.microsoft.com/office/drawing/2014/main" id="{AC39E3E7-7A1B-4C76-8B39-D9439768DB00}"/>
                </a:ext>
              </a:extLst>
            </p:cNvPr>
            <p:cNvSpPr/>
            <p:nvPr/>
          </p:nvSpPr>
          <p:spPr>
            <a:xfrm>
              <a:off x="3019954" y="2890805"/>
              <a:ext cx="147932" cy="149241"/>
            </a:xfrm>
            <a:prstGeom prst="ellipse">
              <a:avLst/>
            </a:prstGeom>
            <a:solidFill>
              <a:schemeClr val="bg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a楷体" panose="02000500000000000000" pitchFamily="2" charset="-122"/>
                <a:ea typeface="Aa楷体" panose="02000500000000000000" pitchFamily="2" charset="-122"/>
                <a:cs typeface="+mn-cs"/>
                <a:sym typeface="YRDZST"/>
              </a:endParaRPr>
            </a:p>
          </p:txBody>
        </p:sp>
        <p:sp>
          <p:nvSpPr>
            <p:cNvPr id="35" name="Oval 34">
              <a:extLst>
                <a:ext uri="{FF2B5EF4-FFF2-40B4-BE49-F238E27FC236}">
                  <a16:creationId xmlns:a16="http://schemas.microsoft.com/office/drawing/2014/main" id="{37894928-C626-4370-B6E0-3A46613D7FB2}"/>
                </a:ext>
              </a:extLst>
            </p:cNvPr>
            <p:cNvSpPr/>
            <p:nvPr/>
          </p:nvSpPr>
          <p:spPr>
            <a:xfrm>
              <a:off x="3143935" y="3120297"/>
              <a:ext cx="149340" cy="147833"/>
            </a:xfrm>
            <a:prstGeom prst="ellipse">
              <a:avLst/>
            </a:prstGeom>
            <a:solidFill>
              <a:schemeClr val="bg2">
                <a:lumMod val="2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a楷体" panose="02000500000000000000" pitchFamily="2" charset="-122"/>
                <a:ea typeface="Aa楷体" panose="02000500000000000000" pitchFamily="2" charset="-122"/>
                <a:cs typeface="+mn-cs"/>
                <a:sym typeface="YRDZST"/>
              </a:endParaRPr>
            </a:p>
          </p:txBody>
        </p:sp>
        <p:sp>
          <p:nvSpPr>
            <p:cNvPr id="36" name="Oval 35">
              <a:extLst>
                <a:ext uri="{FF2B5EF4-FFF2-40B4-BE49-F238E27FC236}">
                  <a16:creationId xmlns:a16="http://schemas.microsoft.com/office/drawing/2014/main" id="{E6005440-DF3C-4B7A-B7E0-7B88EDEE88BB}"/>
                </a:ext>
              </a:extLst>
            </p:cNvPr>
            <p:cNvSpPr/>
            <p:nvPr/>
          </p:nvSpPr>
          <p:spPr>
            <a:xfrm>
              <a:off x="2064739" y="2683839"/>
              <a:ext cx="381805" cy="381550"/>
            </a:xfrm>
            <a:prstGeom prst="ellipse">
              <a:avLst/>
            </a:prstGeom>
            <a:solidFill>
              <a:schemeClr val="bg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a楷体" panose="02000500000000000000" pitchFamily="2" charset="-122"/>
                <a:ea typeface="Aa楷体" panose="02000500000000000000" pitchFamily="2" charset="-122"/>
                <a:cs typeface="+mn-cs"/>
                <a:sym typeface="YRDZST"/>
              </a:endParaRPr>
            </a:p>
          </p:txBody>
        </p:sp>
        <p:sp>
          <p:nvSpPr>
            <p:cNvPr id="37" name="Oval 36">
              <a:extLst>
                <a:ext uri="{FF2B5EF4-FFF2-40B4-BE49-F238E27FC236}">
                  <a16:creationId xmlns:a16="http://schemas.microsoft.com/office/drawing/2014/main" id="{D399DDC9-A065-49DB-95CF-5ED183DF19A4}"/>
                </a:ext>
              </a:extLst>
            </p:cNvPr>
            <p:cNvSpPr/>
            <p:nvPr/>
          </p:nvSpPr>
          <p:spPr>
            <a:xfrm>
              <a:off x="1254638" y="3472280"/>
              <a:ext cx="147931" cy="149241"/>
            </a:xfrm>
            <a:prstGeom prst="ellipse">
              <a:avLst/>
            </a:prstGeom>
            <a:solidFill>
              <a:schemeClr val="bg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a楷体" panose="02000500000000000000" pitchFamily="2" charset="-122"/>
                <a:ea typeface="Aa楷体" panose="02000500000000000000" pitchFamily="2" charset="-122"/>
                <a:cs typeface="+mn-cs"/>
                <a:sym typeface="YRDZST"/>
              </a:endParaRPr>
            </a:p>
          </p:txBody>
        </p:sp>
        <p:sp>
          <p:nvSpPr>
            <p:cNvPr id="38" name="Oval 37">
              <a:extLst>
                <a:ext uri="{FF2B5EF4-FFF2-40B4-BE49-F238E27FC236}">
                  <a16:creationId xmlns:a16="http://schemas.microsoft.com/office/drawing/2014/main" id="{10E3CDF1-057D-4BD8-9E81-37CCF9AA8414}"/>
                </a:ext>
              </a:extLst>
            </p:cNvPr>
            <p:cNvSpPr/>
            <p:nvPr/>
          </p:nvSpPr>
          <p:spPr>
            <a:xfrm>
              <a:off x="1378619" y="3659535"/>
              <a:ext cx="233873" cy="233716"/>
            </a:xfrm>
            <a:prstGeom prst="ellipse">
              <a:avLst/>
            </a:prstGeom>
            <a:solidFill>
              <a:schemeClr val="bg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a楷体" panose="02000500000000000000" pitchFamily="2" charset="-122"/>
                <a:ea typeface="Aa楷体" panose="02000500000000000000" pitchFamily="2" charset="-122"/>
                <a:cs typeface="+mn-cs"/>
                <a:sym typeface="YRDZST"/>
              </a:endParaRPr>
            </a:p>
          </p:txBody>
        </p:sp>
        <p:sp>
          <p:nvSpPr>
            <p:cNvPr id="39" name="Oval 38">
              <a:extLst>
                <a:ext uri="{FF2B5EF4-FFF2-40B4-BE49-F238E27FC236}">
                  <a16:creationId xmlns:a16="http://schemas.microsoft.com/office/drawing/2014/main" id="{F7982A1B-0B94-4245-903D-48DE172B58AA}"/>
                </a:ext>
              </a:extLst>
            </p:cNvPr>
            <p:cNvSpPr/>
            <p:nvPr/>
          </p:nvSpPr>
          <p:spPr>
            <a:xfrm>
              <a:off x="1691388" y="3825671"/>
              <a:ext cx="338129" cy="339311"/>
            </a:xfrm>
            <a:prstGeom prst="ellipse">
              <a:avLst/>
            </a:prstGeom>
            <a:solidFill>
              <a:schemeClr val="bg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a楷体" panose="02000500000000000000" pitchFamily="2" charset="-122"/>
                <a:ea typeface="Aa楷体" panose="02000500000000000000" pitchFamily="2" charset="-122"/>
                <a:cs typeface="+mn-cs"/>
                <a:sym typeface="YRDZST"/>
              </a:endParaRPr>
            </a:p>
          </p:txBody>
        </p:sp>
        <p:sp>
          <p:nvSpPr>
            <p:cNvPr id="40" name="Oval 39">
              <a:extLst>
                <a:ext uri="{FF2B5EF4-FFF2-40B4-BE49-F238E27FC236}">
                  <a16:creationId xmlns:a16="http://schemas.microsoft.com/office/drawing/2014/main" id="{399D0703-CBB3-4896-A845-29F96461D0BD}"/>
                </a:ext>
              </a:extLst>
            </p:cNvPr>
            <p:cNvSpPr/>
            <p:nvPr/>
          </p:nvSpPr>
          <p:spPr>
            <a:xfrm>
              <a:off x="2126729" y="4095993"/>
              <a:ext cx="147932" cy="147832"/>
            </a:xfrm>
            <a:prstGeom prst="ellipse">
              <a:avLst/>
            </a:prstGeom>
            <a:solidFill>
              <a:schemeClr val="tx1">
                <a:lumMod val="65000"/>
                <a:lumOff val="3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a楷体" panose="02000500000000000000" pitchFamily="2" charset="-122"/>
                <a:ea typeface="Aa楷体" panose="02000500000000000000" pitchFamily="2" charset="-122"/>
                <a:cs typeface="+mn-cs"/>
                <a:sym typeface="YRDZST"/>
              </a:endParaRPr>
            </a:p>
          </p:txBody>
        </p:sp>
        <p:sp>
          <p:nvSpPr>
            <p:cNvPr id="41" name="Oval 40">
              <a:extLst>
                <a:ext uri="{FF2B5EF4-FFF2-40B4-BE49-F238E27FC236}">
                  <a16:creationId xmlns:a16="http://schemas.microsoft.com/office/drawing/2014/main" id="{315EB013-02D3-45E5-B256-113D724F0EBB}"/>
                </a:ext>
              </a:extLst>
            </p:cNvPr>
            <p:cNvSpPr/>
            <p:nvPr/>
          </p:nvSpPr>
          <p:spPr>
            <a:xfrm>
              <a:off x="2209853" y="3825671"/>
              <a:ext cx="233873" cy="233716"/>
            </a:xfrm>
            <a:prstGeom prst="ellipse">
              <a:avLst/>
            </a:prstGeom>
            <a:solidFill>
              <a:schemeClr val="bg2">
                <a:lumMod val="2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a楷体" panose="02000500000000000000" pitchFamily="2" charset="-122"/>
                <a:ea typeface="Aa楷体" panose="02000500000000000000" pitchFamily="2" charset="-122"/>
                <a:cs typeface="+mn-cs"/>
                <a:sym typeface="YRDZST"/>
              </a:endParaRPr>
            </a:p>
          </p:txBody>
        </p:sp>
        <p:sp>
          <p:nvSpPr>
            <p:cNvPr id="42" name="Oval 41">
              <a:extLst>
                <a:ext uri="{FF2B5EF4-FFF2-40B4-BE49-F238E27FC236}">
                  <a16:creationId xmlns:a16="http://schemas.microsoft.com/office/drawing/2014/main" id="{777A871D-8CF2-4345-B3EC-65D603DDE98A}"/>
                </a:ext>
              </a:extLst>
            </p:cNvPr>
            <p:cNvSpPr/>
            <p:nvPr/>
          </p:nvSpPr>
          <p:spPr>
            <a:xfrm>
              <a:off x="2418366" y="4117112"/>
              <a:ext cx="147931" cy="147833"/>
            </a:xfrm>
            <a:prstGeom prst="ellipse">
              <a:avLst/>
            </a:prstGeom>
            <a:solidFill>
              <a:schemeClr val="bg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a楷体" panose="02000500000000000000" pitchFamily="2" charset="-122"/>
                <a:ea typeface="Aa楷体" panose="02000500000000000000" pitchFamily="2" charset="-122"/>
                <a:cs typeface="+mn-cs"/>
                <a:sym typeface="YRDZST"/>
              </a:endParaRPr>
            </a:p>
          </p:txBody>
        </p:sp>
        <p:sp>
          <p:nvSpPr>
            <p:cNvPr id="43" name="Oval 42">
              <a:extLst>
                <a:ext uri="{FF2B5EF4-FFF2-40B4-BE49-F238E27FC236}">
                  <a16:creationId xmlns:a16="http://schemas.microsoft.com/office/drawing/2014/main" id="{CA831E26-41F3-49BE-8643-CDE1039B1B62}"/>
                </a:ext>
              </a:extLst>
            </p:cNvPr>
            <p:cNvSpPr/>
            <p:nvPr/>
          </p:nvSpPr>
          <p:spPr>
            <a:xfrm>
              <a:off x="2604338" y="3784840"/>
              <a:ext cx="339538" cy="337903"/>
            </a:xfrm>
            <a:prstGeom prst="ellipse">
              <a:avLst/>
            </a:prstGeom>
            <a:solidFill>
              <a:schemeClr val="bg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a楷体" panose="02000500000000000000" pitchFamily="2" charset="-122"/>
                <a:ea typeface="Aa楷体" panose="02000500000000000000" pitchFamily="2" charset="-122"/>
                <a:cs typeface="+mn-cs"/>
                <a:sym typeface="YRDZST"/>
              </a:endParaRPr>
            </a:p>
          </p:txBody>
        </p:sp>
        <p:sp>
          <p:nvSpPr>
            <p:cNvPr id="44" name="Oval 43">
              <a:extLst>
                <a:ext uri="{FF2B5EF4-FFF2-40B4-BE49-F238E27FC236}">
                  <a16:creationId xmlns:a16="http://schemas.microsoft.com/office/drawing/2014/main" id="{72B9932D-189E-4BD8-99CF-6D2E42F6F04D}"/>
                </a:ext>
              </a:extLst>
            </p:cNvPr>
            <p:cNvSpPr/>
            <p:nvPr/>
          </p:nvSpPr>
          <p:spPr>
            <a:xfrm>
              <a:off x="3062221" y="3701773"/>
              <a:ext cx="232464" cy="232308"/>
            </a:xfrm>
            <a:prstGeom prst="ellipse">
              <a:avLst/>
            </a:prstGeom>
            <a:solidFill>
              <a:schemeClr val="tx1">
                <a:lumMod val="65000"/>
                <a:lumOff val="3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a楷体" panose="02000500000000000000" pitchFamily="2" charset="-122"/>
                <a:ea typeface="Aa楷体" panose="02000500000000000000" pitchFamily="2" charset="-122"/>
                <a:cs typeface="+mn-cs"/>
                <a:sym typeface="YRDZST"/>
              </a:endParaRPr>
            </a:p>
          </p:txBody>
        </p:sp>
      </p:grpSp>
      <p:sp>
        <p:nvSpPr>
          <p:cNvPr id="45" name="Half Frame 44">
            <a:extLst>
              <a:ext uri="{FF2B5EF4-FFF2-40B4-BE49-F238E27FC236}">
                <a16:creationId xmlns:a16="http://schemas.microsoft.com/office/drawing/2014/main" id="{29B87AE2-1AFB-4137-B8D0-6C04B3C91261}"/>
              </a:ext>
            </a:extLst>
          </p:cNvPr>
          <p:cNvSpPr/>
          <p:nvPr/>
        </p:nvSpPr>
        <p:spPr>
          <a:xfrm rot="7905728">
            <a:off x="1827685" y="4901999"/>
            <a:ext cx="391445" cy="336106"/>
          </a:xfrm>
          <a:prstGeom prst="halfFram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srgbClr val="000000"/>
              </a:solidFill>
              <a:effectLst/>
              <a:uLnTx/>
              <a:uFillTx/>
              <a:latin typeface="Aa楷体" panose="02000500000000000000" pitchFamily="2" charset="-122"/>
              <a:ea typeface="+mn-ea"/>
              <a:cs typeface="+mn-cs"/>
              <a:sym typeface="YRDZST"/>
            </a:endParaRPr>
          </a:p>
        </p:txBody>
      </p:sp>
      <p:sp>
        <p:nvSpPr>
          <p:cNvPr id="46" name="Half Frame 45">
            <a:extLst>
              <a:ext uri="{FF2B5EF4-FFF2-40B4-BE49-F238E27FC236}">
                <a16:creationId xmlns:a16="http://schemas.microsoft.com/office/drawing/2014/main" id="{9CBD8A97-02D8-4E37-871B-00CEEE25F939}"/>
              </a:ext>
            </a:extLst>
          </p:cNvPr>
          <p:cNvSpPr>
            <a:spLocks noChangeAspect="1"/>
          </p:cNvSpPr>
          <p:nvPr/>
        </p:nvSpPr>
        <p:spPr>
          <a:xfrm rot="8078504">
            <a:off x="1981825" y="4784251"/>
            <a:ext cx="524179" cy="525477"/>
          </a:xfrm>
          <a:prstGeom prst="halfFram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srgbClr val="000000"/>
              </a:solidFill>
              <a:effectLst/>
              <a:uLnTx/>
              <a:uFillTx/>
              <a:latin typeface="Aa楷体" panose="02000500000000000000" pitchFamily="2" charset="-122"/>
              <a:ea typeface="+mn-ea"/>
              <a:cs typeface="+mn-cs"/>
              <a:sym typeface="YRDZST"/>
            </a:endParaRPr>
          </a:p>
        </p:txBody>
      </p:sp>
      <p:sp>
        <p:nvSpPr>
          <p:cNvPr id="47" name="Half Frame 46">
            <a:extLst>
              <a:ext uri="{FF2B5EF4-FFF2-40B4-BE49-F238E27FC236}">
                <a16:creationId xmlns:a16="http://schemas.microsoft.com/office/drawing/2014/main" id="{4275E11D-465F-4539-83EF-61B1F9303189}"/>
              </a:ext>
            </a:extLst>
          </p:cNvPr>
          <p:cNvSpPr/>
          <p:nvPr/>
        </p:nvSpPr>
        <p:spPr>
          <a:xfrm rot="18900000">
            <a:off x="4034394" y="4865012"/>
            <a:ext cx="351197" cy="352571"/>
          </a:xfrm>
          <a:prstGeom prst="halfFram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srgbClr val="000000"/>
              </a:solidFill>
              <a:effectLst/>
              <a:uLnTx/>
              <a:uFillTx/>
              <a:latin typeface="Aa楷体" panose="02000500000000000000" pitchFamily="2" charset="-122"/>
              <a:ea typeface="+mn-ea"/>
              <a:cs typeface="+mn-cs"/>
              <a:sym typeface="YRDZST"/>
            </a:endParaRPr>
          </a:p>
        </p:txBody>
      </p:sp>
      <p:sp>
        <p:nvSpPr>
          <p:cNvPr id="48" name="Half Frame 47">
            <a:extLst>
              <a:ext uri="{FF2B5EF4-FFF2-40B4-BE49-F238E27FC236}">
                <a16:creationId xmlns:a16="http://schemas.microsoft.com/office/drawing/2014/main" id="{AF627CBE-7334-4A7A-AF73-EC2E8B9C5A4A}"/>
              </a:ext>
            </a:extLst>
          </p:cNvPr>
          <p:cNvSpPr>
            <a:spLocks noChangeAspect="1"/>
          </p:cNvSpPr>
          <p:nvPr/>
        </p:nvSpPr>
        <p:spPr>
          <a:xfrm rot="18900000">
            <a:off x="3750277" y="4768086"/>
            <a:ext cx="545072" cy="546421"/>
          </a:xfrm>
          <a:prstGeom prst="halfFram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srgbClr val="000000"/>
              </a:solidFill>
              <a:effectLst/>
              <a:uLnTx/>
              <a:uFillTx/>
              <a:latin typeface="Aa楷体" panose="02000500000000000000" pitchFamily="2" charset="-122"/>
              <a:ea typeface="+mn-ea"/>
              <a:cs typeface="+mn-cs"/>
              <a:sym typeface="YRDZST"/>
            </a:endParaRPr>
          </a:p>
        </p:txBody>
      </p:sp>
      <p:sp>
        <p:nvSpPr>
          <p:cNvPr id="49" name="TextBox 48">
            <a:extLst>
              <a:ext uri="{FF2B5EF4-FFF2-40B4-BE49-F238E27FC236}">
                <a16:creationId xmlns:a16="http://schemas.microsoft.com/office/drawing/2014/main" id="{3C322457-7AFD-4F4D-99A7-74A2857DFFC0}"/>
              </a:ext>
            </a:extLst>
          </p:cNvPr>
          <p:cNvSpPr txBox="1">
            <a:spLocks noChangeAspect="1"/>
          </p:cNvSpPr>
          <p:nvPr/>
        </p:nvSpPr>
        <p:spPr bwMode="auto">
          <a:xfrm>
            <a:off x="313859" y="4639090"/>
            <a:ext cx="1492096"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zh-CN" sz="1900" b="1" i="0" u="none" strike="noStrike" kern="1200" cap="none" spc="0" normalizeH="0" baseline="0" noProof="0" dirty="0">
                <a:ln>
                  <a:noFill/>
                </a:ln>
                <a:solidFill>
                  <a:srgbClr val="768395"/>
                </a:solidFill>
                <a:effectLst/>
                <a:uLnTx/>
                <a:uFillTx/>
                <a:ea typeface="Calibri" panose="020F0502020204030204" pitchFamily="34" charset="0"/>
                <a:cs typeface="Calibri" panose="020F0502020204030204" pitchFamily="34" charset="0"/>
                <a:sym typeface="YRDZST"/>
              </a:rPr>
              <a:t>Monster</a:t>
            </a:r>
          </a:p>
          <a:p>
            <a:pPr marL="0" marR="0" lvl="0" indent="0" algn="ctr" defTabSz="914400" rtl="0" eaLnBrk="1" fontAlgn="auto" latinLnBrk="0" hangingPunct="1">
              <a:lnSpc>
                <a:spcPct val="100000"/>
              </a:lnSpc>
              <a:spcBef>
                <a:spcPct val="0"/>
              </a:spcBef>
              <a:spcAft>
                <a:spcPts val="0"/>
              </a:spcAft>
              <a:buClrTx/>
              <a:buSzTx/>
              <a:buFontTx/>
              <a:buNone/>
              <a:tabLst/>
              <a:defRPr/>
            </a:pPr>
            <a:r>
              <a:rPr lang="en-US" altLang="zh-CN" sz="1900" b="1" dirty="0">
                <a:solidFill>
                  <a:srgbClr val="768395"/>
                </a:solidFill>
                <a:ea typeface="Calibri" panose="020F0502020204030204" pitchFamily="34" charset="0"/>
                <a:cs typeface="Calibri" panose="020F0502020204030204" pitchFamily="34" charset="0"/>
                <a:sym typeface="YRDZST"/>
              </a:rPr>
              <a:t>Chasing</a:t>
            </a:r>
            <a:endParaRPr kumimoji="0" lang="id-ID" altLang="zh-CN" sz="1900" b="1" i="0" u="none" strike="noStrike" kern="1200" cap="none" spc="0" normalizeH="0" baseline="0" noProof="0" dirty="0">
              <a:ln>
                <a:noFill/>
              </a:ln>
              <a:solidFill>
                <a:srgbClr val="768395"/>
              </a:solidFill>
              <a:effectLst/>
              <a:uLnTx/>
              <a:uFillTx/>
              <a:ea typeface="Calibri" panose="020F0502020204030204" pitchFamily="34" charset="0"/>
              <a:cs typeface="Calibri" panose="020F0502020204030204" pitchFamily="34" charset="0"/>
              <a:sym typeface="YRDZST"/>
            </a:endParaRPr>
          </a:p>
        </p:txBody>
      </p:sp>
      <p:sp>
        <p:nvSpPr>
          <p:cNvPr id="50" name="TextBox 49">
            <a:extLst>
              <a:ext uri="{FF2B5EF4-FFF2-40B4-BE49-F238E27FC236}">
                <a16:creationId xmlns:a16="http://schemas.microsoft.com/office/drawing/2014/main" id="{6599CAE8-B6BD-4BCA-AD2D-1F7923F325A9}"/>
              </a:ext>
            </a:extLst>
          </p:cNvPr>
          <p:cNvSpPr txBox="1">
            <a:spLocks noChangeAspect="1"/>
          </p:cNvSpPr>
          <p:nvPr/>
        </p:nvSpPr>
        <p:spPr bwMode="auto">
          <a:xfrm>
            <a:off x="4327011" y="4607823"/>
            <a:ext cx="1607226"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zh-CN" sz="1900" b="1" i="0" u="none" strike="noStrike" kern="1200" cap="none" spc="0" normalizeH="0" baseline="0" noProof="0" dirty="0">
                <a:ln>
                  <a:noFill/>
                </a:ln>
                <a:solidFill>
                  <a:schemeClr val="accent1">
                    <a:lumMod val="60000"/>
                    <a:lumOff val="40000"/>
                  </a:schemeClr>
                </a:solidFill>
                <a:effectLst/>
                <a:uLnTx/>
                <a:uFillTx/>
                <a:ea typeface="Calibri" panose="020F0502020204030204" pitchFamily="34" charset="0"/>
                <a:cs typeface="Calibri" panose="020F0502020204030204" pitchFamily="34" charset="0"/>
                <a:sym typeface="YRDZST"/>
              </a:rPr>
              <a:t>Rogue</a:t>
            </a:r>
          </a:p>
          <a:p>
            <a:pPr marL="0" marR="0" lvl="0" indent="0" algn="ctr" defTabSz="914400" rtl="0" eaLnBrk="1" fontAlgn="auto" latinLnBrk="0" hangingPunct="1">
              <a:lnSpc>
                <a:spcPct val="100000"/>
              </a:lnSpc>
              <a:spcBef>
                <a:spcPct val="0"/>
              </a:spcBef>
              <a:spcAft>
                <a:spcPts val="0"/>
              </a:spcAft>
              <a:buClrTx/>
              <a:buSzTx/>
              <a:buFontTx/>
              <a:buNone/>
              <a:tabLst/>
              <a:defRPr/>
            </a:pPr>
            <a:r>
              <a:rPr lang="en-US" altLang="zh-CN" sz="1900" b="1" dirty="0">
                <a:solidFill>
                  <a:schemeClr val="accent1">
                    <a:lumMod val="60000"/>
                    <a:lumOff val="40000"/>
                  </a:schemeClr>
                </a:solidFill>
                <a:ea typeface="Calibri" panose="020F0502020204030204" pitchFamily="34" charset="0"/>
                <a:cs typeface="Calibri" panose="020F0502020204030204" pitchFamily="34" charset="0"/>
                <a:sym typeface="YRDZST"/>
              </a:rPr>
              <a:t>Escaping</a:t>
            </a:r>
            <a:endParaRPr kumimoji="0" lang="id-ID" altLang="zh-CN" sz="1900" b="1" i="0" u="none" strike="noStrike" kern="1200" cap="none" spc="0" normalizeH="0" baseline="0" noProof="0" dirty="0">
              <a:ln>
                <a:noFill/>
              </a:ln>
              <a:solidFill>
                <a:schemeClr val="accent1">
                  <a:lumMod val="60000"/>
                  <a:lumOff val="40000"/>
                </a:schemeClr>
              </a:solidFill>
              <a:effectLst/>
              <a:uLnTx/>
              <a:uFillTx/>
              <a:ea typeface="Calibri" panose="020F0502020204030204" pitchFamily="34" charset="0"/>
              <a:cs typeface="Calibri" panose="020F0502020204030204" pitchFamily="34" charset="0"/>
              <a:sym typeface="YRDZST"/>
            </a:endParaRPr>
          </a:p>
        </p:txBody>
      </p:sp>
      <p:sp>
        <p:nvSpPr>
          <p:cNvPr id="62" name="文本框 61">
            <a:extLst>
              <a:ext uri="{FF2B5EF4-FFF2-40B4-BE49-F238E27FC236}">
                <a16:creationId xmlns:a16="http://schemas.microsoft.com/office/drawing/2014/main" id="{45D38191-DE5C-4AB5-9395-BD172F1FE769}"/>
              </a:ext>
            </a:extLst>
          </p:cNvPr>
          <p:cNvSpPr txBox="1"/>
          <p:nvPr/>
        </p:nvSpPr>
        <p:spPr>
          <a:xfrm>
            <a:off x="1645099" y="731992"/>
            <a:ext cx="3458845" cy="461645"/>
          </a:xfrm>
          <a:prstGeom prst="rect">
            <a:avLst/>
          </a:prstGeom>
          <a:noFill/>
          <a:ln w="0">
            <a:noFill/>
          </a:ln>
        </p:spPr>
        <p:txBody>
          <a:bodyPr vert="horz" wrap="square" lIns="89535" tIns="46355" rIns="89535" bIns="46355" numCol="1" anchor="t">
            <a:spAutoFit/>
          </a:bodyPr>
          <a:lstStyle/>
          <a:p>
            <a:pPr marL="0" marR="0" lvl="0" indent="0" algn="l" defTabSz="508000" rtl="0" eaLnBrk="0" fontAlgn="auto" latinLnBrk="0" hangingPunct="1">
              <a:lnSpc>
                <a:spcPct val="100000"/>
              </a:lnSpc>
              <a:spcBef>
                <a:spcPts val="0"/>
              </a:spcBef>
              <a:spcAft>
                <a:spcPts val="0"/>
              </a:spcAft>
              <a:buClrTx/>
              <a:buSzTx/>
              <a:buFontTx/>
              <a:buNone/>
              <a:tabLst/>
              <a:defRPr/>
            </a:pPr>
            <a:r>
              <a:rPr kumimoji="0" lang="en-US" altLang="zh-CN" sz="2400" b="1" i="0" u="none" strike="noStrike" kern="1200" cap="none" spc="0" normalizeH="0" baseline="0" noProof="0" dirty="0">
                <a:ln>
                  <a:noFill/>
                </a:ln>
                <a:solidFill>
                  <a:srgbClr val="000000"/>
                </a:solidFill>
                <a:effectLst/>
                <a:uLnTx/>
                <a:uFillTx/>
                <a:latin typeface="Calibri" panose="020F0502020204030204" pitchFamily="34" charset="0"/>
                <a:ea typeface="Aa楷体" panose="02000500000000000000" pitchFamily="2" charset="-122"/>
                <a:cs typeface="Calibri" panose="020F0502020204030204" pitchFamily="34" charset="0"/>
                <a:sym typeface="YRDZST"/>
              </a:rPr>
              <a:t>Overall Game Logic</a:t>
            </a:r>
            <a:endParaRPr kumimoji="0" lang="ko-KR" altLang="en-US" sz="2400" b="1" i="0" u="none" strike="noStrike" kern="1200" cap="none" spc="0" normalizeH="0" baseline="0" noProof="0" dirty="0">
              <a:ln>
                <a:noFill/>
              </a:ln>
              <a:solidFill>
                <a:srgbClr val="F0F0F0">
                  <a:lumMod val="25000"/>
                </a:srgbClr>
              </a:solidFill>
              <a:effectLst/>
              <a:uLnTx/>
              <a:uFillTx/>
              <a:latin typeface="Calibri" panose="020F0502020204030204" pitchFamily="34" charset="0"/>
              <a:ea typeface="微软雅黑" panose="020B0503020204020204" charset="-122"/>
              <a:cs typeface="Calibri" panose="020F0502020204030204" pitchFamily="34" charset="0"/>
              <a:sym typeface="YRDZST"/>
            </a:endParaRPr>
          </a:p>
        </p:txBody>
      </p:sp>
      <p:pic>
        <p:nvPicPr>
          <p:cNvPr id="2" name="图片 1">
            <a:extLst>
              <a:ext uri="{FF2B5EF4-FFF2-40B4-BE49-F238E27FC236}">
                <a16:creationId xmlns:a16="http://schemas.microsoft.com/office/drawing/2014/main" id="{9C523B2C-7F47-DA35-091F-DCC80860FF8A}"/>
              </a:ext>
            </a:extLst>
          </p:cNvPr>
          <p:cNvPicPr>
            <a:picLocks noChangeAspect="1"/>
          </p:cNvPicPr>
          <p:nvPr/>
        </p:nvPicPr>
        <p:blipFill>
          <a:blip r:embed="rId4"/>
          <a:srcRect l="697" t="908" r="349" b="602"/>
          <a:stretch>
            <a:fillRect/>
          </a:stretch>
        </p:blipFill>
        <p:spPr>
          <a:xfrm>
            <a:off x="6433308" y="362741"/>
            <a:ext cx="5721327" cy="6132518"/>
          </a:xfrm>
          <a:prstGeom prst="rect">
            <a:avLst/>
          </a:prstGeom>
          <a:ln>
            <a:noFill/>
          </a:ln>
        </p:spPr>
      </p:pic>
      <p:pic>
        <p:nvPicPr>
          <p:cNvPr id="51" name="图形 50" descr="网络">
            <a:extLst>
              <a:ext uri="{FF2B5EF4-FFF2-40B4-BE49-F238E27FC236}">
                <a16:creationId xmlns:a16="http://schemas.microsoft.com/office/drawing/2014/main" id="{127A8D49-2550-0369-2222-AB2F7361B05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20515" y="1682609"/>
            <a:ext cx="914400" cy="914400"/>
          </a:xfrm>
          <a:prstGeom prst="rect">
            <a:avLst/>
          </a:prstGeom>
        </p:spPr>
      </p:pic>
      <p:pic>
        <p:nvPicPr>
          <p:cNvPr id="53" name="图形 52" descr="工作流">
            <a:extLst>
              <a:ext uri="{FF2B5EF4-FFF2-40B4-BE49-F238E27FC236}">
                <a16:creationId xmlns:a16="http://schemas.microsoft.com/office/drawing/2014/main" id="{B453061D-1009-6DD9-9647-EE58BE0720D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69044" y="1722470"/>
            <a:ext cx="914400" cy="914400"/>
          </a:xfrm>
          <a:prstGeom prst="rect">
            <a:avLst/>
          </a:prstGeom>
        </p:spPr>
      </p:pic>
      <p:pic>
        <p:nvPicPr>
          <p:cNvPr id="65" name="图形 64" descr="网络">
            <a:extLst>
              <a:ext uri="{FF2B5EF4-FFF2-40B4-BE49-F238E27FC236}">
                <a16:creationId xmlns:a16="http://schemas.microsoft.com/office/drawing/2014/main" id="{C22686BE-F3AC-8DF2-F692-07AC6A13DD3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499094" y="1722470"/>
            <a:ext cx="914400" cy="914400"/>
          </a:xfrm>
          <a:prstGeom prst="rect">
            <a:avLst/>
          </a:prstGeom>
        </p:spPr>
      </p:pic>
      <p:sp>
        <p:nvSpPr>
          <p:cNvPr id="66" name="矩形: 圆角 65">
            <a:extLst>
              <a:ext uri="{FF2B5EF4-FFF2-40B4-BE49-F238E27FC236}">
                <a16:creationId xmlns:a16="http://schemas.microsoft.com/office/drawing/2014/main" id="{A903C472-4FAE-7325-124B-1B08D3D5F874}"/>
              </a:ext>
            </a:extLst>
          </p:cNvPr>
          <p:cNvSpPr/>
          <p:nvPr/>
        </p:nvSpPr>
        <p:spPr>
          <a:xfrm>
            <a:off x="390335" y="2660501"/>
            <a:ext cx="1794555" cy="431741"/>
          </a:xfrm>
          <a:prstGeom prst="roundRect">
            <a:avLst/>
          </a:prstGeom>
          <a:solidFill>
            <a:schemeClr val="bg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b="1" dirty="0">
                <a:latin typeface="Calibri" panose="020F0502020204030204" pitchFamily="34" charset="0"/>
                <a:ea typeface="Calibri" panose="020F0502020204030204" pitchFamily="34" charset="0"/>
                <a:cs typeface="Calibri" panose="020F0502020204030204" pitchFamily="34" charset="0"/>
              </a:rPr>
              <a:t>BFS</a:t>
            </a:r>
            <a:endParaRPr lang="zh-CN" altLang="en-US" b="1" dirty="0">
              <a:latin typeface="Calibri" panose="020F0502020204030204" pitchFamily="34" charset="0"/>
              <a:cs typeface="Calibri" panose="020F0502020204030204" pitchFamily="34" charset="0"/>
            </a:endParaRPr>
          </a:p>
        </p:txBody>
      </p:sp>
      <p:sp>
        <p:nvSpPr>
          <p:cNvPr id="67" name="箭头: 下 66">
            <a:extLst>
              <a:ext uri="{FF2B5EF4-FFF2-40B4-BE49-F238E27FC236}">
                <a16:creationId xmlns:a16="http://schemas.microsoft.com/office/drawing/2014/main" id="{C682FB1C-AC85-4F19-1CCA-CBE74026396B}"/>
              </a:ext>
            </a:extLst>
          </p:cNvPr>
          <p:cNvSpPr/>
          <p:nvPr/>
        </p:nvSpPr>
        <p:spPr>
          <a:xfrm>
            <a:off x="1012799" y="3228842"/>
            <a:ext cx="553185" cy="808627"/>
          </a:xfrm>
          <a:prstGeom prst="downArrow">
            <a:avLst/>
          </a:prstGeom>
          <a:solidFill>
            <a:schemeClr val="tx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8" name="加号 67">
            <a:extLst>
              <a:ext uri="{FF2B5EF4-FFF2-40B4-BE49-F238E27FC236}">
                <a16:creationId xmlns:a16="http://schemas.microsoft.com/office/drawing/2014/main" id="{8F80BEED-8714-94A8-1D5F-6712F3A35664}"/>
              </a:ext>
            </a:extLst>
          </p:cNvPr>
          <p:cNvSpPr/>
          <p:nvPr/>
        </p:nvSpPr>
        <p:spPr>
          <a:xfrm>
            <a:off x="4452255" y="1841335"/>
            <a:ext cx="624472" cy="677108"/>
          </a:xfrm>
          <a:prstGeom prst="mathPlus">
            <a:avLst/>
          </a:prstGeom>
          <a:solidFill>
            <a:schemeClr val="accent3">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9" name="矩形: 圆角 68">
            <a:extLst>
              <a:ext uri="{FF2B5EF4-FFF2-40B4-BE49-F238E27FC236}">
                <a16:creationId xmlns:a16="http://schemas.microsoft.com/office/drawing/2014/main" id="{E07DC1BF-37EE-0BD4-3FE3-7D3B515AF18D}"/>
              </a:ext>
            </a:extLst>
          </p:cNvPr>
          <p:cNvSpPr/>
          <p:nvPr/>
        </p:nvSpPr>
        <p:spPr>
          <a:xfrm>
            <a:off x="5068761" y="2696504"/>
            <a:ext cx="1027499" cy="431741"/>
          </a:xfrm>
          <a:prstGeom prst="round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b="1" dirty="0">
                <a:latin typeface="Calibri" panose="020F0502020204030204" pitchFamily="34" charset="0"/>
                <a:ea typeface="Calibri" panose="020F0502020204030204" pitchFamily="34" charset="0"/>
                <a:cs typeface="Calibri" panose="020F0502020204030204" pitchFamily="34" charset="0"/>
              </a:rPr>
              <a:t>DFS</a:t>
            </a:r>
            <a:endParaRPr lang="zh-CN" altLang="en-US" b="1" dirty="0">
              <a:latin typeface="Calibri" panose="020F0502020204030204" pitchFamily="34" charset="0"/>
              <a:cs typeface="Calibri" panose="020F0502020204030204" pitchFamily="34" charset="0"/>
            </a:endParaRPr>
          </a:p>
        </p:txBody>
      </p:sp>
      <p:sp>
        <p:nvSpPr>
          <p:cNvPr id="70" name="矩形: 圆角 69">
            <a:extLst>
              <a:ext uri="{FF2B5EF4-FFF2-40B4-BE49-F238E27FC236}">
                <a16:creationId xmlns:a16="http://schemas.microsoft.com/office/drawing/2014/main" id="{628261A0-F2F0-B739-E81F-DECD45353638}"/>
              </a:ext>
            </a:extLst>
          </p:cNvPr>
          <p:cNvSpPr/>
          <p:nvPr/>
        </p:nvSpPr>
        <p:spPr>
          <a:xfrm>
            <a:off x="3385995" y="2699979"/>
            <a:ext cx="1027499" cy="431741"/>
          </a:xfrm>
          <a:prstGeom prst="roundRect">
            <a:avLst/>
          </a:prstGeom>
          <a:solidFill>
            <a:schemeClr val="accent2">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b="1" dirty="0">
                <a:latin typeface="Calibri" panose="020F0502020204030204" pitchFamily="34" charset="0"/>
                <a:ea typeface="Calibri" panose="020F0502020204030204" pitchFamily="34" charset="0"/>
                <a:cs typeface="Calibri" panose="020F0502020204030204" pitchFamily="34" charset="0"/>
              </a:rPr>
              <a:t>BFS</a:t>
            </a:r>
            <a:endParaRPr lang="zh-CN" altLang="en-US" b="1" dirty="0">
              <a:latin typeface="Calibri" panose="020F0502020204030204" pitchFamily="34" charset="0"/>
              <a:cs typeface="Calibri" panose="020F0502020204030204" pitchFamily="34" charset="0"/>
            </a:endParaRPr>
          </a:p>
        </p:txBody>
      </p:sp>
      <p:sp>
        <p:nvSpPr>
          <p:cNvPr id="71" name="箭头: 下 70">
            <a:extLst>
              <a:ext uri="{FF2B5EF4-FFF2-40B4-BE49-F238E27FC236}">
                <a16:creationId xmlns:a16="http://schemas.microsoft.com/office/drawing/2014/main" id="{2D07256F-E65B-A022-1894-84762C6358BD}"/>
              </a:ext>
            </a:extLst>
          </p:cNvPr>
          <p:cNvSpPr/>
          <p:nvPr/>
        </p:nvSpPr>
        <p:spPr>
          <a:xfrm>
            <a:off x="4489824" y="3263009"/>
            <a:ext cx="553185" cy="808627"/>
          </a:xfrm>
          <a:prstGeom prst="downArrow">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3" name="图形 72" descr="舞步">
            <a:extLst>
              <a:ext uri="{FF2B5EF4-FFF2-40B4-BE49-F238E27FC236}">
                <a16:creationId xmlns:a16="http://schemas.microsoft.com/office/drawing/2014/main" id="{4A6C8EE9-11BC-E2F5-642A-9590750577E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757420" y="4407914"/>
            <a:ext cx="914400" cy="914400"/>
          </a:xfrm>
          <a:prstGeom prst="rect">
            <a:avLst/>
          </a:prstGeom>
        </p:spPr>
      </p:pic>
      <p:sp>
        <p:nvSpPr>
          <p:cNvPr id="74" name="文本框 73">
            <a:extLst>
              <a:ext uri="{FF2B5EF4-FFF2-40B4-BE49-F238E27FC236}">
                <a16:creationId xmlns:a16="http://schemas.microsoft.com/office/drawing/2014/main" id="{5AD59BCE-982F-ECA2-D67C-0F65F0AB3732}"/>
              </a:ext>
            </a:extLst>
          </p:cNvPr>
          <p:cNvSpPr txBox="1"/>
          <p:nvPr/>
        </p:nvSpPr>
        <p:spPr>
          <a:xfrm>
            <a:off x="2727110" y="5362519"/>
            <a:ext cx="971413" cy="461645"/>
          </a:xfrm>
          <a:prstGeom prst="rect">
            <a:avLst/>
          </a:prstGeom>
          <a:noFill/>
          <a:ln w="0">
            <a:noFill/>
          </a:ln>
        </p:spPr>
        <p:txBody>
          <a:bodyPr vert="horz" wrap="square" lIns="89535" tIns="46355" rIns="89535" bIns="46355" numCol="1" anchor="t">
            <a:spAutoFit/>
          </a:bodyPr>
          <a:lstStyle/>
          <a:p>
            <a:pPr marL="0" marR="0" lvl="0" indent="0" algn="l" defTabSz="508000" rtl="0" eaLnBrk="0" fontAlgn="auto" latinLnBrk="0" hangingPunct="1">
              <a:lnSpc>
                <a:spcPct val="100000"/>
              </a:lnSpc>
              <a:spcBef>
                <a:spcPts val="0"/>
              </a:spcBef>
              <a:spcAft>
                <a:spcPts val="0"/>
              </a:spcAft>
              <a:buClrTx/>
              <a:buSzTx/>
              <a:buFontTx/>
              <a:buNone/>
              <a:tabLst/>
              <a:defRPr/>
            </a:pPr>
            <a:r>
              <a:rPr lang="en-US" altLang="ko-KR" sz="2400" b="1" dirty="0">
                <a:solidFill>
                  <a:srgbClr val="000000"/>
                </a:solidFill>
                <a:latin typeface="Calibri" panose="020F0502020204030204" pitchFamily="34" charset="0"/>
                <a:ea typeface="Aa楷体" panose="02000500000000000000" pitchFamily="2" charset="-122"/>
                <a:cs typeface="Calibri" panose="020F0502020204030204" pitchFamily="34" charset="0"/>
                <a:sym typeface="YRDZST"/>
              </a:rPr>
              <a:t>Game</a:t>
            </a:r>
            <a:endParaRPr kumimoji="0" lang="ko-KR" altLang="en-US" sz="2400" b="1" i="0" u="none" strike="noStrike" kern="1200" cap="none" spc="0" normalizeH="0" baseline="0" noProof="0" dirty="0">
              <a:ln>
                <a:noFill/>
              </a:ln>
              <a:solidFill>
                <a:srgbClr val="F0F0F0">
                  <a:lumMod val="25000"/>
                </a:srgbClr>
              </a:solidFill>
              <a:effectLst/>
              <a:uLnTx/>
              <a:uFillTx/>
              <a:latin typeface="Calibri" panose="020F0502020204030204" pitchFamily="34" charset="0"/>
              <a:ea typeface="微软雅黑" panose="020B0503020204020204" charset="-122"/>
              <a:cs typeface="Calibri" panose="020F0502020204030204" pitchFamily="34" charset="0"/>
              <a:sym typeface="YRDZST"/>
            </a:endParaRPr>
          </a:p>
        </p:txBody>
      </p:sp>
    </p:spTree>
  </p:cSld>
  <p:clrMapOvr>
    <a:masterClrMapping/>
  </p:clrMapOvr>
  <mc:AlternateContent xmlns:mc="http://schemas.openxmlformats.org/markup-compatibility/2006" xmlns:p14="http://schemas.microsoft.com/office/powerpoint/2010/main">
    <mc:Choice Requires="p14">
      <p:transition spd="slow" p14:dur="1500" advClick="0" advTm="1000">
        <p:random/>
      </p:transition>
    </mc:Choice>
    <mc:Fallback xmlns="">
      <p:transition spd="slow" advClick="0" advTm="1000">
        <p:random/>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53" presetClass="entr" presetSubtype="16" fill="hold" nodeType="withEffect">
                                  <p:stCondLst>
                                    <p:cond delay="1000"/>
                                  </p:stCondLst>
                                  <p:childTnLst>
                                    <p:set>
                                      <p:cBhvr>
                                        <p:cTn id="6" dur="1" fill="hold">
                                          <p:stCondLst>
                                            <p:cond delay="0"/>
                                          </p:stCondLst>
                                        </p:cTn>
                                        <p:tgtEl>
                                          <p:spTgt spid="26"/>
                                        </p:tgtEl>
                                        <p:attrNameLst>
                                          <p:attrName>style.visibility</p:attrName>
                                        </p:attrNameLst>
                                      </p:cBhvr>
                                      <p:to>
                                        <p:strVal val="visible"/>
                                      </p:to>
                                    </p:set>
                                    <p:anim calcmode="lin" valueType="num">
                                      <p:cBhvr>
                                        <p:cTn id="7" dur="1000" fill="hold"/>
                                        <p:tgtEl>
                                          <p:spTgt spid="26"/>
                                        </p:tgtEl>
                                        <p:attrNameLst>
                                          <p:attrName>ppt_w</p:attrName>
                                        </p:attrNameLst>
                                      </p:cBhvr>
                                      <p:tavLst>
                                        <p:tav tm="0">
                                          <p:val>
                                            <p:fltVal val="0"/>
                                          </p:val>
                                        </p:tav>
                                        <p:tav tm="100000">
                                          <p:val>
                                            <p:strVal val="#ppt_w"/>
                                          </p:val>
                                        </p:tav>
                                      </p:tavLst>
                                    </p:anim>
                                    <p:anim calcmode="lin" valueType="num">
                                      <p:cBhvr>
                                        <p:cTn id="8" dur="1000" fill="hold"/>
                                        <p:tgtEl>
                                          <p:spTgt spid="26"/>
                                        </p:tgtEl>
                                        <p:attrNameLst>
                                          <p:attrName>ppt_h</p:attrName>
                                        </p:attrNameLst>
                                      </p:cBhvr>
                                      <p:tavLst>
                                        <p:tav tm="0">
                                          <p:val>
                                            <p:fltVal val="0"/>
                                          </p:val>
                                        </p:tav>
                                        <p:tav tm="100000">
                                          <p:val>
                                            <p:strVal val="#ppt_h"/>
                                          </p:val>
                                        </p:tav>
                                      </p:tavLst>
                                    </p:anim>
                                    <p:animEffect transition="in" filter="fade">
                                      <p:cBhvr>
                                        <p:cTn id="9" dur="1000"/>
                                        <p:tgtEl>
                                          <p:spTgt spid="26"/>
                                        </p:tgtEl>
                                      </p:cBhvr>
                                    </p:animEffect>
                                  </p:childTnLst>
                                </p:cTn>
                              </p:par>
                              <p:par>
                                <p:cTn id="10" presetID="53" presetClass="entr" presetSubtype="16" fill="hold" nodeType="withEffect">
                                  <p:stCondLst>
                                    <p:cond delay="1000"/>
                                  </p:stCondLst>
                                  <p:childTnLst>
                                    <p:set>
                                      <p:cBhvr>
                                        <p:cTn id="11" dur="1" fill="hold">
                                          <p:stCondLst>
                                            <p:cond delay="0"/>
                                          </p:stCondLst>
                                        </p:cTn>
                                        <p:tgtEl>
                                          <p:spTgt spid="7"/>
                                        </p:tgtEl>
                                        <p:attrNameLst>
                                          <p:attrName>style.visibility</p:attrName>
                                        </p:attrNameLst>
                                      </p:cBhvr>
                                      <p:to>
                                        <p:strVal val="visible"/>
                                      </p:to>
                                    </p:set>
                                    <p:anim calcmode="lin" valueType="num">
                                      <p:cBhvr>
                                        <p:cTn id="12" dur="1000" fill="hold"/>
                                        <p:tgtEl>
                                          <p:spTgt spid="7"/>
                                        </p:tgtEl>
                                        <p:attrNameLst>
                                          <p:attrName>ppt_w</p:attrName>
                                        </p:attrNameLst>
                                      </p:cBhvr>
                                      <p:tavLst>
                                        <p:tav tm="0">
                                          <p:val>
                                            <p:fltVal val="0"/>
                                          </p:val>
                                        </p:tav>
                                        <p:tav tm="100000">
                                          <p:val>
                                            <p:strVal val="#ppt_w"/>
                                          </p:val>
                                        </p:tav>
                                      </p:tavLst>
                                    </p:anim>
                                    <p:anim calcmode="lin" valueType="num">
                                      <p:cBhvr>
                                        <p:cTn id="13" dur="1000" fill="hold"/>
                                        <p:tgtEl>
                                          <p:spTgt spid="7"/>
                                        </p:tgtEl>
                                        <p:attrNameLst>
                                          <p:attrName>ppt_h</p:attrName>
                                        </p:attrNameLst>
                                      </p:cBhvr>
                                      <p:tavLst>
                                        <p:tav tm="0">
                                          <p:val>
                                            <p:fltVal val="0"/>
                                          </p:val>
                                        </p:tav>
                                        <p:tav tm="100000">
                                          <p:val>
                                            <p:strVal val="#ppt_h"/>
                                          </p:val>
                                        </p:tav>
                                      </p:tavLst>
                                    </p:anim>
                                    <p:animEffect transition="in" filter="fade">
                                      <p:cBhvr>
                                        <p:cTn id="14" dur="1000"/>
                                        <p:tgtEl>
                                          <p:spTgt spid="7"/>
                                        </p:tgtEl>
                                      </p:cBhvr>
                                    </p:animEffect>
                                  </p:childTnLst>
                                </p:cTn>
                              </p:par>
                              <p:par>
                                <p:cTn id="15" presetID="45" presetClass="entr" presetSubtype="0" fill="hold" grpId="0" nodeType="withEffect">
                                  <p:stCondLst>
                                    <p:cond delay="2500"/>
                                  </p:stCondLst>
                                  <p:childTnLst>
                                    <p:set>
                                      <p:cBhvr>
                                        <p:cTn id="16" dur="1" fill="hold">
                                          <p:stCondLst>
                                            <p:cond delay="0"/>
                                          </p:stCondLst>
                                        </p:cTn>
                                        <p:tgtEl>
                                          <p:spTgt spid="49"/>
                                        </p:tgtEl>
                                        <p:attrNameLst>
                                          <p:attrName>style.visibility</p:attrName>
                                        </p:attrNameLst>
                                      </p:cBhvr>
                                      <p:to>
                                        <p:strVal val="visible"/>
                                      </p:to>
                                    </p:set>
                                    <p:animEffect transition="in" filter="fade">
                                      <p:cBhvr>
                                        <p:cTn id="17" dur="2000"/>
                                        <p:tgtEl>
                                          <p:spTgt spid="49"/>
                                        </p:tgtEl>
                                      </p:cBhvr>
                                    </p:animEffect>
                                    <p:anim calcmode="lin" valueType="num">
                                      <p:cBhvr>
                                        <p:cTn id="18" dur="2000" fill="hold"/>
                                        <p:tgtEl>
                                          <p:spTgt spid="49"/>
                                        </p:tgtEl>
                                        <p:attrNameLst>
                                          <p:attrName>ppt_w</p:attrName>
                                        </p:attrNameLst>
                                      </p:cBhvr>
                                      <p:tavLst>
                                        <p:tav tm="0" fmla="#ppt_w*sin(2.5*pi*$)">
                                          <p:val>
                                            <p:fltVal val="0"/>
                                          </p:val>
                                        </p:tav>
                                        <p:tav tm="100000">
                                          <p:val>
                                            <p:fltVal val="1"/>
                                          </p:val>
                                        </p:tav>
                                      </p:tavLst>
                                    </p:anim>
                                    <p:anim calcmode="lin" valueType="num">
                                      <p:cBhvr>
                                        <p:cTn id="19" dur="2000" fill="hold"/>
                                        <p:tgtEl>
                                          <p:spTgt spid="49"/>
                                        </p:tgtEl>
                                        <p:attrNameLst>
                                          <p:attrName>ppt_h</p:attrName>
                                        </p:attrNameLst>
                                      </p:cBhvr>
                                      <p:tavLst>
                                        <p:tav tm="0">
                                          <p:val>
                                            <p:strVal val="#ppt_h"/>
                                          </p:val>
                                        </p:tav>
                                        <p:tav tm="100000">
                                          <p:val>
                                            <p:strVal val="#ppt_h"/>
                                          </p:val>
                                        </p:tav>
                                      </p:tavLst>
                                    </p:anim>
                                  </p:childTnLst>
                                </p:cTn>
                              </p:par>
                              <p:par>
                                <p:cTn id="20" presetID="45" presetClass="entr" presetSubtype="0" fill="hold" grpId="0" nodeType="withEffect">
                                  <p:stCondLst>
                                    <p:cond delay="2500"/>
                                  </p:stCondLst>
                                  <p:childTnLst>
                                    <p:set>
                                      <p:cBhvr>
                                        <p:cTn id="21" dur="1" fill="hold">
                                          <p:stCondLst>
                                            <p:cond delay="0"/>
                                          </p:stCondLst>
                                        </p:cTn>
                                        <p:tgtEl>
                                          <p:spTgt spid="50"/>
                                        </p:tgtEl>
                                        <p:attrNameLst>
                                          <p:attrName>style.visibility</p:attrName>
                                        </p:attrNameLst>
                                      </p:cBhvr>
                                      <p:to>
                                        <p:strVal val="visible"/>
                                      </p:to>
                                    </p:set>
                                    <p:animEffect transition="in" filter="fade">
                                      <p:cBhvr>
                                        <p:cTn id="22" dur="2000"/>
                                        <p:tgtEl>
                                          <p:spTgt spid="50"/>
                                        </p:tgtEl>
                                      </p:cBhvr>
                                    </p:animEffect>
                                    <p:anim calcmode="lin" valueType="num">
                                      <p:cBhvr>
                                        <p:cTn id="23" dur="2000" fill="hold"/>
                                        <p:tgtEl>
                                          <p:spTgt spid="50"/>
                                        </p:tgtEl>
                                        <p:attrNameLst>
                                          <p:attrName>ppt_w</p:attrName>
                                        </p:attrNameLst>
                                      </p:cBhvr>
                                      <p:tavLst>
                                        <p:tav tm="0" fmla="#ppt_w*sin(2.5*pi*$)">
                                          <p:val>
                                            <p:fltVal val="0"/>
                                          </p:val>
                                        </p:tav>
                                        <p:tav tm="100000">
                                          <p:val>
                                            <p:fltVal val="1"/>
                                          </p:val>
                                        </p:tav>
                                      </p:tavLst>
                                    </p:anim>
                                    <p:anim calcmode="lin" valueType="num">
                                      <p:cBhvr>
                                        <p:cTn id="24" dur="2000" fill="hold"/>
                                        <p:tgtEl>
                                          <p:spTgt spid="50"/>
                                        </p:tgtEl>
                                        <p:attrNameLst>
                                          <p:attrName>ppt_h</p:attrName>
                                        </p:attrNameLst>
                                      </p:cBhvr>
                                      <p:tavLst>
                                        <p:tav tm="0">
                                          <p:val>
                                            <p:strVal val="#ppt_h"/>
                                          </p:val>
                                        </p:tav>
                                        <p:tav tm="100000">
                                          <p:val>
                                            <p:strVal val="#ppt_h"/>
                                          </p:val>
                                        </p:tav>
                                      </p:tavLst>
                                    </p:anim>
                                  </p:childTnLst>
                                </p:cTn>
                              </p:par>
                              <p:par>
                                <p:cTn id="25" presetID="22" presetClass="entr" presetSubtype="8" fill="hold" nodeType="withEffect">
                                  <p:stCondLst>
                                    <p:cond delay="5000"/>
                                  </p:stCondLst>
                                  <p:childTnLst>
                                    <p:set>
                                      <p:cBhvr>
                                        <p:cTn id="26" dur="1" fill="hold">
                                          <p:stCondLst>
                                            <p:cond delay="0"/>
                                          </p:stCondLst>
                                        </p:cTn>
                                        <p:tgtEl>
                                          <p:spTgt spid="45"/>
                                        </p:tgtEl>
                                        <p:attrNameLst>
                                          <p:attrName>style.visibility</p:attrName>
                                        </p:attrNameLst>
                                      </p:cBhvr>
                                      <p:to>
                                        <p:strVal val="visible"/>
                                      </p:to>
                                    </p:set>
                                    <p:animEffect transition="in" filter="wipe(left)">
                                      <p:cBhvr>
                                        <p:cTn id="27" dur="500"/>
                                        <p:tgtEl>
                                          <p:spTgt spid="45"/>
                                        </p:tgtEl>
                                      </p:cBhvr>
                                    </p:animEffect>
                                  </p:childTnLst>
                                </p:cTn>
                              </p:par>
                              <p:par>
                                <p:cTn id="28" presetID="22" presetClass="entr" presetSubtype="2" fill="hold" nodeType="withEffect">
                                  <p:stCondLst>
                                    <p:cond delay="5000"/>
                                  </p:stCondLst>
                                  <p:childTnLst>
                                    <p:set>
                                      <p:cBhvr>
                                        <p:cTn id="29" dur="1" fill="hold">
                                          <p:stCondLst>
                                            <p:cond delay="0"/>
                                          </p:stCondLst>
                                        </p:cTn>
                                        <p:tgtEl>
                                          <p:spTgt spid="47"/>
                                        </p:tgtEl>
                                        <p:attrNameLst>
                                          <p:attrName>style.visibility</p:attrName>
                                        </p:attrNameLst>
                                      </p:cBhvr>
                                      <p:to>
                                        <p:strVal val="visible"/>
                                      </p:to>
                                    </p:set>
                                    <p:animEffect transition="in" filter="wipe(right)">
                                      <p:cBhvr>
                                        <p:cTn id="30" dur="500"/>
                                        <p:tgtEl>
                                          <p:spTgt spid="47"/>
                                        </p:tgtEl>
                                      </p:cBhvr>
                                    </p:animEffect>
                                  </p:childTnLst>
                                </p:cTn>
                              </p:par>
                              <p:par>
                                <p:cTn id="31" presetID="22" presetClass="entr" presetSubtype="8" fill="hold" nodeType="withEffect">
                                  <p:stCondLst>
                                    <p:cond delay="5500"/>
                                  </p:stCondLst>
                                  <p:childTnLst>
                                    <p:set>
                                      <p:cBhvr>
                                        <p:cTn id="32" dur="1" fill="hold">
                                          <p:stCondLst>
                                            <p:cond delay="0"/>
                                          </p:stCondLst>
                                        </p:cTn>
                                        <p:tgtEl>
                                          <p:spTgt spid="46"/>
                                        </p:tgtEl>
                                        <p:attrNameLst>
                                          <p:attrName>style.visibility</p:attrName>
                                        </p:attrNameLst>
                                      </p:cBhvr>
                                      <p:to>
                                        <p:strVal val="visible"/>
                                      </p:to>
                                    </p:set>
                                    <p:animEffect transition="in" filter="wipe(left)">
                                      <p:cBhvr>
                                        <p:cTn id="33" dur="500"/>
                                        <p:tgtEl>
                                          <p:spTgt spid="46"/>
                                        </p:tgtEl>
                                      </p:cBhvr>
                                    </p:animEffect>
                                  </p:childTnLst>
                                </p:cTn>
                              </p:par>
                              <p:par>
                                <p:cTn id="34" presetID="22" presetClass="entr" presetSubtype="2" fill="hold" nodeType="withEffect">
                                  <p:stCondLst>
                                    <p:cond delay="5500"/>
                                  </p:stCondLst>
                                  <p:childTnLst>
                                    <p:set>
                                      <p:cBhvr>
                                        <p:cTn id="35" dur="1" fill="hold">
                                          <p:stCondLst>
                                            <p:cond delay="0"/>
                                          </p:stCondLst>
                                        </p:cTn>
                                        <p:tgtEl>
                                          <p:spTgt spid="48"/>
                                        </p:tgtEl>
                                        <p:attrNameLst>
                                          <p:attrName>style.visibility</p:attrName>
                                        </p:attrNameLst>
                                      </p:cBhvr>
                                      <p:to>
                                        <p:strVal val="visible"/>
                                      </p:to>
                                    </p:set>
                                    <p:animEffect transition="in" filter="wipe(right)">
                                      <p:cBhvr>
                                        <p:cTn id="36"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p:bldP spid="5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îṩḻïde"/>
        <p:cNvGrpSpPr/>
        <p:nvPr/>
      </p:nvGrpSpPr>
      <p:grpSpPr>
        <a:xfrm>
          <a:off x="0" y="0"/>
          <a:ext cx="0" cy="0"/>
          <a:chOff x="0" y="0"/>
          <a:chExt cx="0" cy="0"/>
        </a:xfrm>
      </p:grpSpPr>
      <p:grpSp>
        <p:nvGrpSpPr>
          <p:cNvPr id="2" name="îŝ1íḍe"/>
          <p:cNvGrpSpPr/>
          <p:nvPr/>
        </p:nvGrpSpPr>
        <p:grpSpPr>
          <a:xfrm>
            <a:off x="897129" y="1172421"/>
            <a:ext cx="10682791" cy="5370587"/>
            <a:chOff x="754604" y="1257200"/>
            <a:chExt cx="10682791" cy="4774450"/>
          </a:xfrm>
        </p:grpSpPr>
        <p:sp>
          <p:nvSpPr>
            <p:cNvPr id="8" name="íšḷîḓè">
              <a:extLst>
                <a:ext uri="{FF2B5EF4-FFF2-40B4-BE49-F238E27FC236}">
                  <a16:creationId xmlns:a16="http://schemas.microsoft.com/office/drawing/2014/main" id="{4BFA190B-074C-46DF-B0EB-3F42F0AE9E82}"/>
                </a:ext>
              </a:extLst>
            </p:cNvPr>
            <p:cNvSpPr/>
            <p:nvPr/>
          </p:nvSpPr>
          <p:spPr>
            <a:xfrm flipH="1" flipV="1">
              <a:off x="754604" y="2488764"/>
              <a:ext cx="10682791" cy="3542886"/>
            </a:xfrm>
            <a:prstGeom prst="roundRect">
              <a:avLst>
                <a:gd name="adj" fmla="val 14614"/>
              </a:avLst>
            </a:prstGeom>
            <a:ln w="76200" cap="rnd">
              <a:gradFill>
                <a:gsLst>
                  <a:gs pos="100000">
                    <a:schemeClr val="accent3">
                      <a:lumMod val="60000"/>
                      <a:lumOff val="40000"/>
                      <a:alpha val="0"/>
                    </a:schemeClr>
                  </a:gs>
                  <a:gs pos="20000">
                    <a:schemeClr val="accent3"/>
                  </a:gs>
                </a:gsLst>
                <a:lin ang="6600000" scaled="0"/>
              </a:gra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dirty="0">
                <a:solidFill>
                  <a:schemeClr val="tx1"/>
                </a:solidFill>
              </a:endParaRPr>
            </a:p>
          </p:txBody>
        </p:sp>
        <p:sp>
          <p:nvSpPr>
            <p:cNvPr id="14" name="ïšļïďe">
              <a:extLst>
                <a:ext uri="{FF2B5EF4-FFF2-40B4-BE49-F238E27FC236}">
                  <a16:creationId xmlns:a16="http://schemas.microsoft.com/office/drawing/2014/main" id="{1B0A14F5-56D0-478F-B99D-C79A645988DE}"/>
                </a:ext>
              </a:extLst>
            </p:cNvPr>
            <p:cNvSpPr/>
            <p:nvPr/>
          </p:nvSpPr>
          <p:spPr>
            <a:xfrm flipH="1">
              <a:off x="754604" y="1257200"/>
              <a:ext cx="124544" cy="830997"/>
            </a:xfrm>
            <a:prstGeom prst="roundRect">
              <a:avLst>
                <a:gd name="adj" fmla="val 44900"/>
              </a:avLst>
            </a:prstGeom>
            <a:gradFill>
              <a:gsLst>
                <a:gs pos="0">
                  <a:schemeClr val="accent1">
                    <a:lumMod val="60000"/>
                    <a:lumOff val="40000"/>
                  </a:schemeClr>
                </a:gs>
                <a:gs pos="60000">
                  <a:schemeClr val="accent1"/>
                </a:gs>
              </a:gsLst>
              <a:lin ang="2700000" scaled="0"/>
            </a:gradFill>
            <a:ln w="57150" cap="rnd">
              <a:noFill/>
              <a:prstDash val="solid"/>
              <a:round/>
            </a:ln>
            <a:effectLst>
              <a:outerShdw blurRad="50800" dist="508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1400" b="1" dirty="0">
                <a:solidFill>
                  <a:schemeClr val="bg1"/>
                </a:solidFill>
              </a:endParaRPr>
            </a:p>
          </p:txBody>
        </p:sp>
      </p:grpSp>
      <p:sp>
        <p:nvSpPr>
          <p:cNvPr id="6" name="矩形: 圆角 5">
            <a:extLst>
              <a:ext uri="{FF2B5EF4-FFF2-40B4-BE49-F238E27FC236}">
                <a16:creationId xmlns:a16="http://schemas.microsoft.com/office/drawing/2014/main" id="{00234F33-D619-D51B-FB20-BE9B13CF9467}"/>
              </a:ext>
            </a:extLst>
          </p:cNvPr>
          <p:cNvSpPr/>
          <p:nvPr/>
        </p:nvSpPr>
        <p:spPr>
          <a:xfrm>
            <a:off x="6995247" y="193106"/>
            <a:ext cx="4299624" cy="6231917"/>
          </a:xfrm>
          <a:prstGeom prst="roundRect">
            <a:avLst>
              <a:gd name="adj" fmla="val 7957"/>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文本框 2">
            <a:extLst>
              <a:ext uri="{FF2B5EF4-FFF2-40B4-BE49-F238E27FC236}">
                <a16:creationId xmlns:a16="http://schemas.microsoft.com/office/drawing/2014/main" id="{B191D941-061E-4283-95EB-7116D6CE4559}"/>
              </a:ext>
            </a:extLst>
          </p:cNvPr>
          <p:cNvSpPr txBox="1"/>
          <p:nvPr/>
        </p:nvSpPr>
        <p:spPr>
          <a:xfrm>
            <a:off x="1048307" y="1226948"/>
            <a:ext cx="3713382" cy="955390"/>
          </a:xfrm>
          <a:prstGeom prst="rect">
            <a:avLst/>
          </a:prstGeom>
          <a:noFill/>
          <a:ln w="0">
            <a:noFill/>
          </a:ln>
        </p:spPr>
        <p:txBody>
          <a:bodyPr vert="horz" wrap="square" lIns="89535" tIns="46355" rIns="89535" bIns="46355" numCol="1" anchor="t">
            <a:spAutoFit/>
          </a:bodyPr>
          <a:lstStyle/>
          <a:p>
            <a:pPr marL="0" marR="0" lvl="0" indent="0" algn="ctr" defTabSz="508000" rtl="0" eaLnBrk="0" fontAlgn="auto" latinLnBrk="0" hangingPunct="1">
              <a:lnSpc>
                <a:spcPct val="100000"/>
              </a:lnSpc>
              <a:spcBef>
                <a:spcPts val="0"/>
              </a:spcBef>
              <a:spcAft>
                <a:spcPts val="0"/>
              </a:spcAft>
              <a:buClrTx/>
              <a:buSzTx/>
              <a:buFontTx/>
              <a:buNone/>
              <a:tabLst/>
              <a:defRPr/>
            </a:pPr>
            <a:r>
              <a:rPr kumimoji="0" lang="en-US" altLang="zh-CN" sz="2400" b="1" i="0" u="none" strike="noStrike" kern="1200" cap="none" spc="0" normalizeH="0" baseline="0" noProof="0" dirty="0">
                <a:ln>
                  <a:noFill/>
                </a:ln>
                <a:solidFill>
                  <a:srgbClr val="000000"/>
                </a:solidFill>
                <a:effectLst/>
                <a:uLnTx/>
                <a:uFillTx/>
                <a:latin typeface="Calibri" panose="020F0502020204030204" pitchFamily="34" charset="0"/>
                <a:ea typeface="Aa楷体" panose="02000500000000000000" pitchFamily="2" charset="-122"/>
                <a:cs typeface="Calibri" panose="020F0502020204030204" pitchFamily="34" charset="0"/>
                <a:sym typeface="YRDZST"/>
              </a:rPr>
              <a:t>Monster Algorithm Analysis</a:t>
            </a:r>
          </a:p>
          <a:p>
            <a:pPr marL="285750" marR="0" lvl="0" indent="-285750" algn="ctr" defTabSz="508000" rtl="0" eaLnBrk="0" fontAlgn="auto" latinLnBrk="0" hangingPunct="1">
              <a:lnSpc>
                <a:spcPct val="100000"/>
              </a:lnSpc>
              <a:spcBef>
                <a:spcPts val="0"/>
              </a:spcBef>
              <a:spcAft>
                <a:spcPts val="0"/>
              </a:spcAft>
              <a:buClrTx/>
              <a:buSzTx/>
              <a:buFont typeface="Arial" panose="020B0604020202020204" pitchFamily="34" charset="0"/>
              <a:buChar char="•"/>
              <a:tabLst/>
              <a:defRPr/>
            </a:pPr>
            <a:r>
              <a:rPr lang="en-US" altLang="ko-KR" sz="1600" dirty="0">
                <a:solidFill>
                  <a:srgbClr val="000000"/>
                </a:solidFill>
                <a:latin typeface="Calibri" panose="020F0502020204030204" pitchFamily="34" charset="0"/>
                <a:ea typeface="Aa楷体" panose="02000500000000000000" pitchFamily="2" charset="-122"/>
                <a:cs typeface="Calibri" panose="020F0502020204030204" pitchFamily="34" charset="0"/>
                <a:sym typeface="YRDZST"/>
              </a:rPr>
              <a:t>BFS and Monster Implementation</a:t>
            </a:r>
          </a:p>
          <a:p>
            <a:pPr marL="285750" marR="0" lvl="0" indent="-285750" algn="ctr" defTabSz="508000" rtl="0" eaLnBrk="0" fontAlgn="auto" latinLnBrk="0" hangingPunct="1">
              <a:lnSpc>
                <a:spcPct val="100000"/>
              </a:lnSpc>
              <a:spcBef>
                <a:spcPts val="0"/>
              </a:spcBef>
              <a:spcAft>
                <a:spcPts val="0"/>
              </a:spcAft>
              <a:buClrTx/>
              <a:buSzTx/>
              <a:buFont typeface="Arial" panose="020B0604020202020204" pitchFamily="34" charset="0"/>
              <a:buChar char="•"/>
              <a:tabLst/>
              <a:defRPr/>
            </a:pPr>
            <a:r>
              <a:rPr lang="en-US" altLang="ko-KR" sz="1600" dirty="0">
                <a:solidFill>
                  <a:srgbClr val="000000"/>
                </a:solidFill>
                <a:latin typeface="Calibri" panose="020F0502020204030204" pitchFamily="34" charset="0"/>
                <a:ea typeface="Aa楷体" panose="02000500000000000000" pitchFamily="2" charset="-122"/>
                <a:cs typeface="Calibri" panose="020F0502020204030204" pitchFamily="34" charset="0"/>
                <a:sym typeface="YRDZST"/>
              </a:rPr>
              <a:t>Time and Space Efficiency</a:t>
            </a:r>
            <a:endParaRPr kumimoji="0" lang="ko-KR" altLang="en-US" sz="1600" i="0" u="none" strike="noStrike" kern="1200" cap="none" spc="0" normalizeH="0" baseline="0" noProof="0" dirty="0">
              <a:ln>
                <a:noFill/>
              </a:ln>
              <a:solidFill>
                <a:srgbClr val="F0F0F0">
                  <a:lumMod val="25000"/>
                </a:srgbClr>
              </a:solidFill>
              <a:effectLst/>
              <a:uLnTx/>
              <a:uFillTx/>
              <a:latin typeface="Calibri" panose="020F0502020204030204" pitchFamily="34" charset="0"/>
              <a:ea typeface="微软雅黑" panose="020B0503020204020204" charset="-122"/>
              <a:cs typeface="Calibri" panose="020F0502020204030204" pitchFamily="34" charset="0"/>
              <a:sym typeface="YRDZST"/>
            </a:endParaRPr>
          </a:p>
        </p:txBody>
      </p:sp>
      <p:pic>
        <p:nvPicPr>
          <p:cNvPr id="4" name="图片 3">
            <a:extLst>
              <a:ext uri="{FF2B5EF4-FFF2-40B4-BE49-F238E27FC236}">
                <a16:creationId xmlns:a16="http://schemas.microsoft.com/office/drawing/2014/main" id="{C94E5BAC-E974-2557-EC77-C36800BE4455}"/>
              </a:ext>
            </a:extLst>
          </p:cNvPr>
          <p:cNvPicPr>
            <a:picLocks noChangeAspect="1"/>
          </p:cNvPicPr>
          <p:nvPr/>
        </p:nvPicPr>
        <p:blipFill>
          <a:blip r:embed="rId3"/>
          <a:stretch>
            <a:fillRect/>
          </a:stretch>
        </p:blipFill>
        <p:spPr>
          <a:xfrm>
            <a:off x="7348565" y="636651"/>
            <a:ext cx="3602765" cy="4104907"/>
          </a:xfrm>
          <a:prstGeom prst="rect">
            <a:avLst/>
          </a:prstGeom>
        </p:spPr>
      </p:pic>
      <p:pic>
        <p:nvPicPr>
          <p:cNvPr id="5" name="图片 4">
            <a:extLst>
              <a:ext uri="{FF2B5EF4-FFF2-40B4-BE49-F238E27FC236}">
                <a16:creationId xmlns:a16="http://schemas.microsoft.com/office/drawing/2014/main" id="{3EDEE1B6-DD0D-A41B-91E0-129F1F7D951C}"/>
              </a:ext>
            </a:extLst>
          </p:cNvPr>
          <p:cNvPicPr>
            <a:picLocks noChangeAspect="1"/>
          </p:cNvPicPr>
          <p:nvPr/>
        </p:nvPicPr>
        <p:blipFill>
          <a:blip r:embed="rId4"/>
          <a:stretch>
            <a:fillRect/>
          </a:stretch>
        </p:blipFill>
        <p:spPr>
          <a:xfrm>
            <a:off x="7348565" y="4731653"/>
            <a:ext cx="3602765" cy="1572282"/>
          </a:xfrm>
          <a:prstGeom prst="rect">
            <a:avLst/>
          </a:prstGeom>
        </p:spPr>
      </p:pic>
      <p:graphicFrame>
        <p:nvGraphicFramePr>
          <p:cNvPr id="7" name="表格 6">
            <a:extLst>
              <a:ext uri="{FF2B5EF4-FFF2-40B4-BE49-F238E27FC236}">
                <a16:creationId xmlns:a16="http://schemas.microsoft.com/office/drawing/2014/main" id="{E4A3AEF8-13C3-6C4D-9447-F1212FC98234}"/>
              </a:ext>
            </a:extLst>
          </p:cNvPr>
          <p:cNvGraphicFramePr>
            <a:graphicFrameLocks noGrp="1"/>
          </p:cNvGraphicFramePr>
          <p:nvPr>
            <p:extLst>
              <p:ext uri="{D42A27DB-BD31-4B8C-83A1-F6EECF244321}">
                <p14:modId xmlns:p14="http://schemas.microsoft.com/office/powerpoint/2010/main" val="4008417623"/>
              </p:ext>
            </p:extLst>
          </p:nvPr>
        </p:nvGraphicFramePr>
        <p:xfrm>
          <a:off x="1378434" y="3259855"/>
          <a:ext cx="5079801" cy="2710008"/>
        </p:xfrm>
        <a:graphic>
          <a:graphicData uri="http://schemas.openxmlformats.org/drawingml/2006/table">
            <a:tbl>
              <a:tblPr firstRow="1" bandRow="1">
                <a:tableStyleId>{5C22544A-7EE6-4342-B048-85BDC9FD1C3A}</a:tableStyleId>
              </a:tblPr>
              <a:tblGrid>
                <a:gridCol w="1693267">
                  <a:extLst>
                    <a:ext uri="{9D8B030D-6E8A-4147-A177-3AD203B41FA5}">
                      <a16:colId xmlns:a16="http://schemas.microsoft.com/office/drawing/2014/main" val="3682415041"/>
                    </a:ext>
                  </a:extLst>
                </a:gridCol>
                <a:gridCol w="1693267">
                  <a:extLst>
                    <a:ext uri="{9D8B030D-6E8A-4147-A177-3AD203B41FA5}">
                      <a16:colId xmlns:a16="http://schemas.microsoft.com/office/drawing/2014/main" val="1248405914"/>
                    </a:ext>
                  </a:extLst>
                </a:gridCol>
                <a:gridCol w="1693267">
                  <a:extLst>
                    <a:ext uri="{9D8B030D-6E8A-4147-A177-3AD203B41FA5}">
                      <a16:colId xmlns:a16="http://schemas.microsoft.com/office/drawing/2014/main" val="3609021720"/>
                    </a:ext>
                  </a:extLst>
                </a:gridCol>
              </a:tblGrid>
              <a:tr h="903336">
                <a:tc>
                  <a:txBody>
                    <a:bodyPr/>
                    <a:lstStyle/>
                    <a:p>
                      <a:endParaRPr lang="zh-CN" altLang="en-US" dirty="0"/>
                    </a:p>
                  </a:txBody>
                  <a:tcPr>
                    <a:solidFill>
                      <a:schemeClr val="tx2">
                        <a:lumMod val="60000"/>
                        <a:lumOff val="40000"/>
                      </a:schemeClr>
                    </a:solidFill>
                  </a:tcPr>
                </a:tc>
                <a:tc>
                  <a:txBody>
                    <a:bodyPr/>
                    <a:lstStyle/>
                    <a:p>
                      <a:pPr algn="ctr"/>
                      <a:r>
                        <a:rPr lang="en-US" altLang="zh-CN" sz="2000" dirty="0">
                          <a:latin typeface="Calibri" panose="020F0502020204030204" pitchFamily="34" charset="0"/>
                          <a:ea typeface="Calibri" panose="020F0502020204030204" pitchFamily="34" charset="0"/>
                          <a:cs typeface="Calibri" panose="020F0502020204030204" pitchFamily="34" charset="0"/>
                        </a:rPr>
                        <a:t>Time Complexity</a:t>
                      </a:r>
                      <a:endParaRPr lang="zh-CN" altLang="en-US" sz="2000" dirty="0">
                        <a:latin typeface="Calibri" panose="020F0502020204030204" pitchFamily="34" charset="0"/>
                        <a:cs typeface="Calibri" panose="020F0502020204030204" pitchFamily="34" charset="0"/>
                      </a:endParaRPr>
                    </a:p>
                  </a:txBody>
                  <a:tcPr>
                    <a:solidFill>
                      <a:schemeClr val="accent2">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2000" dirty="0">
                          <a:latin typeface="Calibri" panose="020F0502020204030204" pitchFamily="34" charset="0"/>
                          <a:ea typeface="Calibri" panose="020F0502020204030204" pitchFamily="34" charset="0"/>
                          <a:cs typeface="Calibri" panose="020F0502020204030204" pitchFamily="34" charset="0"/>
                        </a:rPr>
                        <a:t>Space Complexity</a:t>
                      </a:r>
                      <a:endParaRPr lang="zh-CN" altLang="en-US" sz="2000" dirty="0">
                        <a:latin typeface="Calibri" panose="020F0502020204030204" pitchFamily="34" charset="0"/>
                        <a:cs typeface="Calibri" panose="020F0502020204030204" pitchFamily="34" charset="0"/>
                      </a:endParaRPr>
                    </a:p>
                  </a:txBody>
                  <a:tcPr>
                    <a:solidFill>
                      <a:schemeClr val="accent1">
                        <a:lumMod val="60000"/>
                        <a:lumOff val="40000"/>
                      </a:schemeClr>
                    </a:solidFill>
                  </a:tcPr>
                </a:tc>
                <a:extLst>
                  <a:ext uri="{0D108BD9-81ED-4DB2-BD59-A6C34878D82A}">
                    <a16:rowId xmlns:a16="http://schemas.microsoft.com/office/drawing/2014/main" val="3844209309"/>
                  </a:ext>
                </a:extLst>
              </a:tr>
              <a:tr h="90333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2000" b="1" dirty="0">
                          <a:solidFill>
                            <a:schemeClr val="bg1"/>
                          </a:solidFill>
                          <a:latin typeface="Calibri" panose="020F0502020204030204" pitchFamily="34" charset="0"/>
                          <a:ea typeface="Calibri" panose="020F0502020204030204" pitchFamily="34" charset="0"/>
                          <a:cs typeface="Calibri" panose="020F0502020204030204" pitchFamily="34" charset="0"/>
                        </a:rPr>
                        <a:t>BFS</a:t>
                      </a:r>
                      <a:endParaRPr lang="zh-CN" altLang="en-US" sz="2000" b="1" dirty="0">
                        <a:solidFill>
                          <a:schemeClr val="bg1"/>
                        </a:solidFill>
                        <a:latin typeface="Calibri" panose="020F0502020204030204" pitchFamily="34" charset="0"/>
                        <a:cs typeface="Calibri" panose="020F0502020204030204" pitchFamily="34" charset="0"/>
                      </a:endParaRPr>
                    </a:p>
                  </a:txBody>
                  <a:tcPr>
                    <a:solidFill>
                      <a:schemeClr val="accent3">
                        <a:lumMod val="60000"/>
                        <a:lumOff val="40000"/>
                      </a:schemeClr>
                    </a:solidFill>
                  </a:tcPr>
                </a:tc>
                <a:tc>
                  <a:txBody>
                    <a:bodyPr/>
                    <a:lstStyle/>
                    <a:p>
                      <a:pPr algn="ctr"/>
                      <a:r>
                        <a:rPr lang="en-US" altLang="zh-CN" b="1" dirty="0">
                          <a:latin typeface="Calibri" panose="020F0502020204030204" pitchFamily="34" charset="0"/>
                          <a:ea typeface="Calibri" panose="020F0502020204030204" pitchFamily="34" charset="0"/>
                          <a:cs typeface="Calibri" panose="020F0502020204030204" pitchFamily="34" charset="0"/>
                        </a:rPr>
                        <a:t>O(n^2)</a:t>
                      </a:r>
                      <a:endParaRPr lang="zh-CN" altLang="en-US" b="1" dirty="0">
                        <a:latin typeface="Calibri" panose="020F0502020204030204" pitchFamily="34" charset="0"/>
                        <a:cs typeface="Calibri" panose="020F0502020204030204" pitchFamily="34" charset="0"/>
                      </a:endParaRPr>
                    </a:p>
                  </a:txBody>
                  <a:tcP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b="1" dirty="0">
                          <a:latin typeface="Calibri" panose="020F0502020204030204" pitchFamily="34" charset="0"/>
                          <a:ea typeface="Calibri" panose="020F0502020204030204" pitchFamily="34" charset="0"/>
                          <a:cs typeface="Calibri" panose="020F0502020204030204" pitchFamily="34" charset="0"/>
                        </a:rPr>
                        <a:t>O(n^2)</a:t>
                      </a:r>
                      <a:endParaRPr lang="zh-CN" altLang="en-US" b="1" dirty="0">
                        <a:latin typeface="Calibri" panose="020F0502020204030204" pitchFamily="34" charset="0"/>
                        <a:cs typeface="Calibri" panose="020F0502020204030204" pitchFamily="34" charset="0"/>
                      </a:endParaRPr>
                    </a:p>
                  </a:txBody>
                  <a:tcPr>
                    <a:solidFill>
                      <a:schemeClr val="accent3">
                        <a:lumMod val="20000"/>
                        <a:lumOff val="80000"/>
                      </a:schemeClr>
                    </a:solidFill>
                  </a:tcPr>
                </a:tc>
                <a:extLst>
                  <a:ext uri="{0D108BD9-81ED-4DB2-BD59-A6C34878D82A}">
                    <a16:rowId xmlns:a16="http://schemas.microsoft.com/office/drawing/2014/main" val="4190155546"/>
                  </a:ext>
                </a:extLst>
              </a:tr>
              <a:tr h="90333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2000" b="1" dirty="0">
                          <a:solidFill>
                            <a:schemeClr val="bg1"/>
                          </a:solidFill>
                          <a:latin typeface="Calibri" panose="020F0502020204030204" pitchFamily="34" charset="0"/>
                          <a:ea typeface="Calibri" panose="020F0502020204030204" pitchFamily="34" charset="0"/>
                          <a:cs typeface="Calibri" panose="020F0502020204030204" pitchFamily="34" charset="0"/>
                        </a:rPr>
                        <a:t>Monster</a:t>
                      </a:r>
                      <a:endParaRPr lang="zh-CN" altLang="en-US" sz="2000" b="1" dirty="0">
                        <a:solidFill>
                          <a:schemeClr val="bg1"/>
                        </a:solidFill>
                        <a:latin typeface="Calibri" panose="020F0502020204030204" pitchFamily="34" charset="0"/>
                        <a:cs typeface="Calibri" panose="020F0502020204030204" pitchFamily="34" charset="0"/>
                      </a:endParaRPr>
                    </a:p>
                  </a:txBody>
                  <a:tcPr>
                    <a:solidFill>
                      <a:schemeClr val="accent3">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b="1" dirty="0">
                          <a:latin typeface="Calibri" panose="020F0502020204030204" pitchFamily="34" charset="0"/>
                          <a:ea typeface="Calibri" panose="020F0502020204030204" pitchFamily="34" charset="0"/>
                          <a:cs typeface="Calibri" panose="020F0502020204030204" pitchFamily="34" charset="0"/>
                        </a:rPr>
                        <a:t>O(n^2)</a:t>
                      </a:r>
                      <a:endParaRPr lang="zh-CN" altLang="en-US" b="1" dirty="0">
                        <a:latin typeface="Calibri" panose="020F0502020204030204" pitchFamily="34" charset="0"/>
                        <a:cs typeface="Calibri" panose="020F050202020403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b="1" dirty="0">
                          <a:latin typeface="Calibri" panose="020F0502020204030204" pitchFamily="34" charset="0"/>
                          <a:ea typeface="Calibri" panose="020F0502020204030204" pitchFamily="34" charset="0"/>
                          <a:cs typeface="Calibri" panose="020F0502020204030204" pitchFamily="34" charset="0"/>
                        </a:rPr>
                        <a:t>O(n^2)</a:t>
                      </a:r>
                      <a:endParaRPr lang="zh-CN" altLang="en-US" b="1"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2106110395"/>
                  </a:ext>
                </a:extLst>
              </a:tr>
            </a:tbl>
          </a:graphicData>
        </a:graphic>
      </p:graphicFrame>
      <p:cxnSp>
        <p:nvCxnSpPr>
          <p:cNvPr id="11" name="直接连接符 10">
            <a:extLst>
              <a:ext uri="{FF2B5EF4-FFF2-40B4-BE49-F238E27FC236}">
                <a16:creationId xmlns:a16="http://schemas.microsoft.com/office/drawing/2014/main" id="{A0C01319-A83E-5075-0447-F8CD20ADDA49}"/>
              </a:ext>
            </a:extLst>
          </p:cNvPr>
          <p:cNvCxnSpPr>
            <a:cxnSpLocks/>
          </p:cNvCxnSpPr>
          <p:nvPr/>
        </p:nvCxnSpPr>
        <p:spPr>
          <a:xfrm>
            <a:off x="1378433" y="3278023"/>
            <a:ext cx="1664826" cy="859935"/>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文本框 19">
            <a:extLst>
              <a:ext uri="{FF2B5EF4-FFF2-40B4-BE49-F238E27FC236}">
                <a16:creationId xmlns:a16="http://schemas.microsoft.com/office/drawing/2014/main" id="{6E890475-2E9F-92EB-37E9-822B8D95FD44}"/>
              </a:ext>
            </a:extLst>
          </p:cNvPr>
          <p:cNvSpPr txBox="1"/>
          <p:nvPr/>
        </p:nvSpPr>
        <p:spPr>
          <a:xfrm>
            <a:off x="1458265" y="3773462"/>
            <a:ext cx="1027652" cy="307777"/>
          </a:xfrm>
          <a:prstGeom prst="rect">
            <a:avLst/>
          </a:prstGeom>
          <a:noFill/>
        </p:spPr>
        <p:txBody>
          <a:bodyPr wrap="square" rtlCol="0">
            <a:spAutoFit/>
          </a:bodyPr>
          <a:lstStyle/>
          <a:p>
            <a:r>
              <a:rPr lang="en-US" altLang="zh-CN" sz="1400" b="1" dirty="0">
                <a:solidFill>
                  <a:schemeClr val="bg1"/>
                </a:solidFill>
                <a:latin typeface="Calibri" panose="020F0502020204030204" pitchFamily="34" charset="0"/>
                <a:ea typeface="Calibri" panose="020F0502020204030204" pitchFamily="34" charset="0"/>
                <a:cs typeface="Calibri" panose="020F0502020204030204" pitchFamily="34" charset="0"/>
              </a:rPr>
              <a:t>Algorithm</a:t>
            </a:r>
            <a:endParaRPr lang="zh-CN" altLang="en-US" sz="1400" b="1" dirty="0">
              <a:solidFill>
                <a:schemeClr val="bg1"/>
              </a:solidFill>
              <a:latin typeface="Calibri" panose="020F0502020204030204" pitchFamily="34" charset="0"/>
              <a:cs typeface="Calibri" panose="020F0502020204030204" pitchFamily="34" charset="0"/>
            </a:endParaRPr>
          </a:p>
        </p:txBody>
      </p:sp>
      <p:sp>
        <p:nvSpPr>
          <p:cNvPr id="21" name="文本框 20">
            <a:extLst>
              <a:ext uri="{FF2B5EF4-FFF2-40B4-BE49-F238E27FC236}">
                <a16:creationId xmlns:a16="http://schemas.microsoft.com/office/drawing/2014/main" id="{466482ED-55B5-B89F-E77A-94142CACF33F}"/>
              </a:ext>
            </a:extLst>
          </p:cNvPr>
          <p:cNvSpPr txBox="1"/>
          <p:nvPr/>
        </p:nvSpPr>
        <p:spPr>
          <a:xfrm>
            <a:off x="2151478" y="3341498"/>
            <a:ext cx="1027652" cy="307777"/>
          </a:xfrm>
          <a:prstGeom prst="rect">
            <a:avLst/>
          </a:prstGeom>
          <a:noFill/>
        </p:spPr>
        <p:txBody>
          <a:bodyPr wrap="square" rtlCol="0">
            <a:spAutoFit/>
          </a:bodyPr>
          <a:lstStyle/>
          <a:p>
            <a:r>
              <a:rPr lang="en-US" altLang="zh-CN" sz="1400" b="1" dirty="0">
                <a:solidFill>
                  <a:schemeClr val="bg1"/>
                </a:solidFill>
                <a:latin typeface="Calibri" panose="020F0502020204030204" pitchFamily="34" charset="0"/>
                <a:ea typeface="Calibri" panose="020F0502020204030204" pitchFamily="34" charset="0"/>
                <a:cs typeface="Calibri" panose="020F0502020204030204" pitchFamily="34" charset="0"/>
              </a:rPr>
              <a:t>Efficiency</a:t>
            </a:r>
            <a:endParaRPr lang="zh-CN" altLang="en-US" sz="1400" b="1" dirty="0">
              <a:solidFill>
                <a:schemeClr val="bg1"/>
              </a:solidFill>
              <a:latin typeface="Calibri" panose="020F0502020204030204" pitchFamily="34" charset="0"/>
              <a:cs typeface="Calibri" panose="020F0502020204030204" pitchFamily="34" charset="0"/>
            </a:endParaRPr>
          </a:p>
        </p:txBody>
      </p:sp>
      <p:sp>
        <p:nvSpPr>
          <p:cNvPr id="22" name="文本框 21">
            <a:extLst>
              <a:ext uri="{FF2B5EF4-FFF2-40B4-BE49-F238E27FC236}">
                <a16:creationId xmlns:a16="http://schemas.microsoft.com/office/drawing/2014/main" id="{F198A9B3-25FD-856C-A28C-F09AAA715ACB}"/>
              </a:ext>
            </a:extLst>
          </p:cNvPr>
          <p:cNvSpPr txBox="1"/>
          <p:nvPr/>
        </p:nvSpPr>
        <p:spPr>
          <a:xfrm>
            <a:off x="8407712" y="230213"/>
            <a:ext cx="1894528" cy="369332"/>
          </a:xfrm>
          <a:prstGeom prst="rect">
            <a:avLst/>
          </a:prstGeom>
          <a:noFill/>
        </p:spPr>
        <p:txBody>
          <a:bodyPr wrap="square" rtlCol="0">
            <a:spAutoFit/>
          </a:bodyPr>
          <a:lstStyle/>
          <a:p>
            <a:r>
              <a:rPr lang="en-US" altLang="zh-CN" b="1" dirty="0">
                <a:solidFill>
                  <a:schemeClr val="bg1"/>
                </a:solidFill>
                <a:latin typeface="Calibri" panose="020F0502020204030204" pitchFamily="34" charset="0"/>
                <a:ea typeface="Calibri" panose="020F0502020204030204" pitchFamily="34" charset="0"/>
                <a:cs typeface="Calibri" panose="020F0502020204030204" pitchFamily="34" charset="0"/>
              </a:rPr>
              <a:t>Pseudo Codes</a:t>
            </a:r>
            <a:endParaRPr lang="zh-CN" altLang="en-US" b="1"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246676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a:extLst>
              <a:ext uri="{FF2B5EF4-FFF2-40B4-BE49-F238E27FC236}">
                <a16:creationId xmlns:a16="http://schemas.microsoft.com/office/drawing/2014/main" id="{62DECD6E-5633-3C73-7739-EB90462FFDBE}"/>
              </a:ext>
            </a:extLst>
          </p:cNvPr>
          <p:cNvGrpSpPr/>
          <p:nvPr/>
        </p:nvGrpSpPr>
        <p:grpSpPr>
          <a:xfrm>
            <a:off x="666751" y="1168400"/>
            <a:ext cx="11027266" cy="4901074"/>
            <a:chOff x="666751" y="1130300"/>
            <a:chExt cx="11027266" cy="4901074"/>
          </a:xfrm>
        </p:grpSpPr>
        <p:grpSp>
          <p:nvGrpSpPr>
            <p:cNvPr id="5" name="组合 4">
              <a:extLst>
                <a:ext uri="{FF2B5EF4-FFF2-40B4-BE49-F238E27FC236}">
                  <a16:creationId xmlns:a16="http://schemas.microsoft.com/office/drawing/2014/main" id="{1327648D-804E-4899-9930-B9662EBCE646}"/>
                </a:ext>
              </a:extLst>
            </p:cNvPr>
            <p:cNvGrpSpPr/>
            <p:nvPr/>
          </p:nvGrpSpPr>
          <p:grpSpPr>
            <a:xfrm>
              <a:off x="666751" y="1130300"/>
              <a:ext cx="5429248" cy="2444750"/>
              <a:chOff x="666751" y="1447800"/>
              <a:chExt cx="5429248" cy="2444750"/>
            </a:xfrm>
          </p:grpSpPr>
          <p:sp>
            <p:nvSpPr>
              <p:cNvPr id="27" name="直角三角形 26">
                <a:extLst>
                  <a:ext uri="{FF2B5EF4-FFF2-40B4-BE49-F238E27FC236}">
                    <a16:creationId xmlns:a16="http://schemas.microsoft.com/office/drawing/2014/main" id="{540C41B6-F5D4-F756-2B8A-FD970A645B95}"/>
                  </a:ext>
                </a:extLst>
              </p:cNvPr>
              <p:cNvSpPr/>
              <p:nvPr/>
            </p:nvSpPr>
            <p:spPr>
              <a:xfrm flipH="1">
                <a:off x="3651249" y="1447800"/>
                <a:ext cx="2444750" cy="2444750"/>
              </a:xfrm>
              <a:prstGeom prst="rtTriangle">
                <a:avLst/>
              </a:prstGeom>
              <a:solidFill>
                <a:schemeClr val="accent1">
                  <a:alpha val="50000"/>
                </a:schemeClr>
              </a:solid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grpSp>
            <p:nvGrpSpPr>
              <p:cNvPr id="28" name="组合 27">
                <a:extLst>
                  <a:ext uri="{FF2B5EF4-FFF2-40B4-BE49-F238E27FC236}">
                    <a16:creationId xmlns:a16="http://schemas.microsoft.com/office/drawing/2014/main" id="{C4418C0B-DC36-4AED-04E6-CEA45ED945F5}"/>
                  </a:ext>
                </a:extLst>
              </p:cNvPr>
              <p:cNvGrpSpPr/>
              <p:nvPr/>
            </p:nvGrpSpPr>
            <p:grpSpPr>
              <a:xfrm>
                <a:off x="666751" y="1913083"/>
                <a:ext cx="4790907" cy="1288800"/>
                <a:chOff x="666751" y="1913083"/>
                <a:chExt cx="4790907" cy="1288800"/>
              </a:xfrm>
            </p:grpSpPr>
            <p:sp>
              <p:nvSpPr>
                <p:cNvPr id="29" name="矩形: 圆角 28">
                  <a:extLst>
                    <a:ext uri="{FF2B5EF4-FFF2-40B4-BE49-F238E27FC236}">
                      <a16:creationId xmlns:a16="http://schemas.microsoft.com/office/drawing/2014/main" id="{DBD8CBFE-0047-7E83-E9CC-D18B173AB8FF}"/>
                    </a:ext>
                  </a:extLst>
                </p:cNvPr>
                <p:cNvSpPr/>
                <p:nvPr/>
              </p:nvSpPr>
              <p:spPr>
                <a:xfrm flipH="1">
                  <a:off x="666751" y="1913083"/>
                  <a:ext cx="4790907" cy="1288800"/>
                </a:xfrm>
                <a:prstGeom prst="roundRect">
                  <a:avLst>
                    <a:gd name="adj" fmla="val 8000"/>
                  </a:avLst>
                </a:prstGeom>
                <a:solidFill>
                  <a:schemeClr val="tx2">
                    <a:alpha val="15000"/>
                  </a:schemeClr>
                </a:solidFill>
                <a:ln w="6055" cap="flat">
                  <a:noFill/>
                  <a:prstDash val="solid"/>
                  <a:miter/>
                </a:ln>
              </p:spPr>
              <p:txBody>
                <a:bodyPr rtlCol="0" anchor="ctr"/>
                <a:lstStyle/>
                <a:p>
                  <a:endParaRPr lang="zh-CN" altLang="en-US"/>
                </a:p>
              </p:txBody>
            </p:sp>
            <p:sp>
              <p:nvSpPr>
                <p:cNvPr id="30" name="矩形 29">
                  <a:extLst>
                    <a:ext uri="{FF2B5EF4-FFF2-40B4-BE49-F238E27FC236}">
                      <a16:creationId xmlns:a16="http://schemas.microsoft.com/office/drawing/2014/main" id="{10063653-E206-D7B5-0CB4-A367963476D3}"/>
                    </a:ext>
                  </a:extLst>
                </p:cNvPr>
                <p:cNvSpPr/>
                <p:nvPr/>
              </p:nvSpPr>
              <p:spPr>
                <a:xfrm flipH="1">
                  <a:off x="800099" y="2054416"/>
                  <a:ext cx="325213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p>
                  <a:r>
                    <a:rPr lang="en-US" altLang="zh-CN" sz="1600" b="1" dirty="0">
                      <a:solidFill>
                        <a:schemeClr val="tx1"/>
                      </a:solidFill>
                      <a:effectLst/>
                      <a:latin typeface="等线" panose="02010600030101010101" pitchFamily="2" charset="-122"/>
                      <a:ea typeface="等线" panose="02010600030101010101" pitchFamily="2" charset="-122"/>
                    </a:rPr>
                    <a:t>Strength</a:t>
                  </a:r>
                  <a:endParaRPr lang="en-US" altLang="zh-CN" sz="1600" b="1" dirty="0">
                    <a:solidFill>
                      <a:schemeClr val="tx1"/>
                    </a:solidFill>
                    <a:latin typeface="等线" panose="02010600030101010101" pitchFamily="2" charset="-122"/>
                    <a:ea typeface="等线" panose="02010600030101010101" pitchFamily="2" charset="-122"/>
                  </a:endParaRPr>
                </a:p>
              </p:txBody>
            </p:sp>
            <p:sp>
              <p:nvSpPr>
                <p:cNvPr id="31" name="矩形 30">
                  <a:extLst>
                    <a:ext uri="{FF2B5EF4-FFF2-40B4-BE49-F238E27FC236}">
                      <a16:creationId xmlns:a16="http://schemas.microsoft.com/office/drawing/2014/main" id="{E97A1EC3-E4A8-5C37-F6CA-A3D667B6A8E8}"/>
                    </a:ext>
                  </a:extLst>
                </p:cNvPr>
                <p:cNvSpPr/>
                <p:nvPr/>
              </p:nvSpPr>
              <p:spPr>
                <a:xfrm flipH="1">
                  <a:off x="800099" y="2404544"/>
                  <a:ext cx="3252129" cy="7931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marL="171450" indent="-171450">
                    <a:lnSpc>
                      <a:spcPct val="130000"/>
                    </a:lnSpc>
                    <a:buFont typeface="Arial" panose="020B0604020202020204" pitchFamily="34" charset="0"/>
                    <a:buChar char="•"/>
                  </a:pPr>
                  <a:r>
                    <a:rPr lang="en-US" altLang="zh-CN" sz="1200" kern="100" dirty="0">
                      <a:solidFill>
                        <a:schemeClr val="tx1"/>
                      </a:solidFill>
                      <a:latin typeface="Calibri" panose="020F0502020204030204" pitchFamily="34" charset="0"/>
                      <a:ea typeface="Calibri" panose="020F0502020204030204" pitchFamily="34" charset="0"/>
                      <a:cs typeface="Calibri" panose="020F0502020204030204" pitchFamily="34" charset="0"/>
                    </a:rPr>
                    <a:t>D</a:t>
                  </a:r>
                  <a:r>
                    <a:rPr lang="en-US" altLang="zh-CN" sz="1200" kern="1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iscovery of minimum length</a:t>
                  </a:r>
                </a:p>
                <a:p>
                  <a:pPr marL="171450" indent="-171450">
                    <a:lnSpc>
                      <a:spcPct val="130000"/>
                    </a:lnSpc>
                    <a:buFont typeface="Arial" panose="020B0604020202020204" pitchFamily="34" charset="0"/>
                    <a:buChar char="•"/>
                  </a:pPr>
                  <a:r>
                    <a:rPr lang="en-US" altLang="zh-CN" sz="1200" kern="100" dirty="0">
                      <a:solidFill>
                        <a:schemeClr val="tx1"/>
                      </a:solidFill>
                      <a:latin typeface="Calibri" panose="020F0502020204030204" pitchFamily="34" charset="0"/>
                      <a:ea typeface="Calibri" panose="020F0502020204030204" pitchFamily="34" charset="0"/>
                      <a:cs typeface="Calibri" panose="020F0502020204030204" pitchFamily="34" charset="0"/>
                    </a:rPr>
                    <a:t>Reliability and simplicity of pathfinding</a:t>
                  </a:r>
                  <a:endParaRPr lang="en-US" altLang="zh-CN" sz="1200" kern="1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p>
                  <a:pPr marL="171450" indent="-171450">
                    <a:lnSpc>
                      <a:spcPct val="130000"/>
                    </a:lnSpc>
                    <a:buFont typeface="Arial" panose="020B0604020202020204" pitchFamily="34" charset="0"/>
                    <a:buChar char="•"/>
                  </a:pPr>
                  <a:endParaRPr kumimoji="1" lang="en-US" altLang="zh-CN" sz="120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32" name="矩形: 对角圆角 31">
                  <a:extLst>
                    <a:ext uri="{FF2B5EF4-FFF2-40B4-BE49-F238E27FC236}">
                      <a16:creationId xmlns:a16="http://schemas.microsoft.com/office/drawing/2014/main" id="{85B9A1DB-DFAE-4DEB-20BE-7DBADF0D02B0}"/>
                    </a:ext>
                  </a:extLst>
                </p:cNvPr>
                <p:cNvSpPr/>
                <p:nvPr/>
              </p:nvSpPr>
              <p:spPr>
                <a:xfrm flipH="1">
                  <a:off x="4168857" y="1913083"/>
                  <a:ext cx="1288800" cy="1288800"/>
                </a:xfrm>
                <a:prstGeom prst="round2DiagRect">
                  <a:avLst/>
                </a:prstGeom>
                <a:solidFill>
                  <a:srgbClr val="FFFFFF"/>
                </a:solidFill>
                <a:ln w="254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4000" b="1" dirty="0">
                      <a:solidFill>
                        <a:schemeClr val="accent1"/>
                      </a:solidFill>
                      <a:latin typeface="Calibri" panose="020F0502020204030204" pitchFamily="34" charset="0"/>
                      <a:ea typeface="Calibri" panose="020F0502020204030204" pitchFamily="34" charset="0"/>
                      <a:cs typeface="Calibri" panose="020F0502020204030204" pitchFamily="34" charset="0"/>
                    </a:rPr>
                    <a:t>S</a:t>
                  </a:r>
                  <a:endParaRPr lang="zh-CN" altLang="en-US" sz="4000" b="1" dirty="0">
                    <a:solidFill>
                      <a:schemeClr val="accent1"/>
                    </a:solidFill>
                    <a:latin typeface="Calibri" panose="020F0502020204030204" pitchFamily="34" charset="0"/>
                    <a:ea typeface="等线 Light" panose="02010600030101010101" pitchFamily="2" charset="-122"/>
                    <a:cs typeface="Calibri" panose="020F0502020204030204" pitchFamily="34" charset="0"/>
                  </a:endParaRPr>
                </a:p>
              </p:txBody>
            </p:sp>
          </p:grpSp>
        </p:grpSp>
        <p:grpSp>
          <p:nvGrpSpPr>
            <p:cNvPr id="6" name="组合 5">
              <a:extLst>
                <a:ext uri="{FF2B5EF4-FFF2-40B4-BE49-F238E27FC236}">
                  <a16:creationId xmlns:a16="http://schemas.microsoft.com/office/drawing/2014/main" id="{603D04CF-E9AC-1A4D-D28A-417FD85A53E1}"/>
                </a:ext>
              </a:extLst>
            </p:cNvPr>
            <p:cNvGrpSpPr/>
            <p:nvPr/>
          </p:nvGrpSpPr>
          <p:grpSpPr>
            <a:xfrm flipH="1">
              <a:off x="6089652" y="1130300"/>
              <a:ext cx="5429248" cy="2444750"/>
              <a:chOff x="666751" y="1447800"/>
              <a:chExt cx="5429248" cy="2444750"/>
            </a:xfrm>
          </p:grpSpPr>
          <p:sp>
            <p:nvSpPr>
              <p:cNvPr id="21" name="直角三角形 20">
                <a:extLst>
                  <a:ext uri="{FF2B5EF4-FFF2-40B4-BE49-F238E27FC236}">
                    <a16:creationId xmlns:a16="http://schemas.microsoft.com/office/drawing/2014/main" id="{00223262-166C-81A7-CB45-651C13F99AD7}"/>
                  </a:ext>
                </a:extLst>
              </p:cNvPr>
              <p:cNvSpPr/>
              <p:nvPr/>
            </p:nvSpPr>
            <p:spPr>
              <a:xfrm flipH="1">
                <a:off x="3651249" y="1447800"/>
                <a:ext cx="2444750" cy="2444750"/>
              </a:xfrm>
              <a:prstGeom prst="rtTriangle">
                <a:avLst/>
              </a:prstGeom>
              <a:solidFill>
                <a:schemeClr val="tx2">
                  <a:lumMod val="60000"/>
                  <a:lumOff val="40000"/>
                </a:schemeClr>
              </a:solid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dirty="0"/>
              </a:p>
            </p:txBody>
          </p:sp>
          <p:grpSp>
            <p:nvGrpSpPr>
              <p:cNvPr id="22" name="组合 21">
                <a:extLst>
                  <a:ext uri="{FF2B5EF4-FFF2-40B4-BE49-F238E27FC236}">
                    <a16:creationId xmlns:a16="http://schemas.microsoft.com/office/drawing/2014/main" id="{004BFF8C-2307-3214-88E8-67CB32AFA2AC}"/>
                  </a:ext>
                </a:extLst>
              </p:cNvPr>
              <p:cNvGrpSpPr/>
              <p:nvPr/>
            </p:nvGrpSpPr>
            <p:grpSpPr>
              <a:xfrm>
                <a:off x="666751" y="1913083"/>
                <a:ext cx="4790907" cy="1288800"/>
                <a:chOff x="666751" y="1913083"/>
                <a:chExt cx="4790907" cy="1288800"/>
              </a:xfrm>
            </p:grpSpPr>
            <p:sp>
              <p:nvSpPr>
                <p:cNvPr id="23" name="矩形: 圆角 22">
                  <a:extLst>
                    <a:ext uri="{FF2B5EF4-FFF2-40B4-BE49-F238E27FC236}">
                      <a16:creationId xmlns:a16="http://schemas.microsoft.com/office/drawing/2014/main" id="{1FA0D314-7B77-C16E-4D75-F97AE7C781C8}"/>
                    </a:ext>
                  </a:extLst>
                </p:cNvPr>
                <p:cNvSpPr/>
                <p:nvPr/>
              </p:nvSpPr>
              <p:spPr>
                <a:xfrm flipH="1">
                  <a:off x="666751" y="1913083"/>
                  <a:ext cx="4790907" cy="1288800"/>
                </a:xfrm>
                <a:prstGeom prst="roundRect">
                  <a:avLst>
                    <a:gd name="adj" fmla="val 8000"/>
                  </a:avLst>
                </a:prstGeom>
                <a:solidFill>
                  <a:schemeClr val="tx2">
                    <a:alpha val="15000"/>
                  </a:schemeClr>
                </a:solidFill>
                <a:ln w="6055" cap="flat">
                  <a:noFill/>
                  <a:prstDash val="solid"/>
                  <a:miter/>
                </a:ln>
              </p:spPr>
              <p:txBody>
                <a:bodyPr rtlCol="0" anchor="ctr"/>
                <a:lstStyle/>
                <a:p>
                  <a:endParaRPr lang="zh-CN" altLang="en-US"/>
                </a:p>
              </p:txBody>
            </p:sp>
            <p:sp>
              <p:nvSpPr>
                <p:cNvPr id="24" name="矩形 23">
                  <a:extLst>
                    <a:ext uri="{FF2B5EF4-FFF2-40B4-BE49-F238E27FC236}">
                      <a16:creationId xmlns:a16="http://schemas.microsoft.com/office/drawing/2014/main" id="{31345343-992F-4669-FBD4-04AC767CCA62}"/>
                    </a:ext>
                  </a:extLst>
                </p:cNvPr>
                <p:cNvSpPr/>
                <p:nvPr/>
              </p:nvSpPr>
              <p:spPr>
                <a:xfrm flipH="1">
                  <a:off x="800099" y="2054416"/>
                  <a:ext cx="325213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p>
                  <a:r>
                    <a:rPr lang="en-US" altLang="zh-CN" sz="1600" b="1" dirty="0">
                      <a:solidFill>
                        <a:schemeClr val="tx1"/>
                      </a:solidFill>
                      <a:effectLst/>
                      <a:latin typeface="等线" panose="02010600030101010101" pitchFamily="2" charset="-122"/>
                      <a:ea typeface="等线" panose="02010600030101010101" pitchFamily="2" charset="-122"/>
                    </a:rPr>
                    <a:t>Weakness</a:t>
                  </a:r>
                  <a:endParaRPr lang="en-US" altLang="zh-CN" sz="1600" b="1" dirty="0">
                    <a:solidFill>
                      <a:schemeClr val="tx1"/>
                    </a:solidFill>
                    <a:latin typeface="等线" panose="02010600030101010101" pitchFamily="2" charset="-122"/>
                    <a:ea typeface="等线" panose="02010600030101010101" pitchFamily="2" charset="-122"/>
                  </a:endParaRPr>
                </a:p>
              </p:txBody>
            </p:sp>
            <p:sp>
              <p:nvSpPr>
                <p:cNvPr id="25" name="矩形 24">
                  <a:extLst>
                    <a:ext uri="{FF2B5EF4-FFF2-40B4-BE49-F238E27FC236}">
                      <a16:creationId xmlns:a16="http://schemas.microsoft.com/office/drawing/2014/main" id="{413FC793-BC11-A24C-395B-861C884B2EBC}"/>
                    </a:ext>
                  </a:extLst>
                </p:cNvPr>
                <p:cNvSpPr/>
                <p:nvPr/>
              </p:nvSpPr>
              <p:spPr>
                <a:xfrm flipH="1">
                  <a:off x="800099" y="2404544"/>
                  <a:ext cx="3252129" cy="553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marL="171450" indent="-171450">
                    <a:lnSpc>
                      <a:spcPct val="130000"/>
                    </a:lnSpc>
                    <a:buFont typeface="Arial" panose="020B0604020202020204" pitchFamily="34" charset="0"/>
                    <a:buChar char="•"/>
                  </a:pPr>
                  <a:r>
                    <a:rPr kumimoji="1" lang="en-US" altLang="zh-CN" sz="1200" dirty="0">
                      <a:solidFill>
                        <a:schemeClr val="tx1"/>
                      </a:solidFill>
                      <a:latin typeface="Calibri" panose="020F0502020204030204" pitchFamily="34" charset="0"/>
                      <a:ea typeface="Calibri" panose="020F0502020204030204" pitchFamily="34" charset="0"/>
                      <a:cs typeface="Calibri" panose="020F0502020204030204" pitchFamily="34" charset="0"/>
                    </a:rPr>
                    <a:t>High space complexity</a:t>
                  </a:r>
                </a:p>
                <a:p>
                  <a:pPr marL="171450" indent="-171450">
                    <a:lnSpc>
                      <a:spcPct val="130000"/>
                    </a:lnSpc>
                    <a:buFont typeface="Arial" panose="020B0604020202020204" pitchFamily="34" charset="0"/>
                    <a:buChar char="•"/>
                  </a:pPr>
                  <a:r>
                    <a:rPr kumimoji="1" lang="en-US" altLang="zh-CN" sz="1200" dirty="0">
                      <a:solidFill>
                        <a:schemeClr val="tx1"/>
                      </a:solidFill>
                      <a:latin typeface="Calibri" panose="020F0502020204030204" pitchFamily="34" charset="0"/>
                      <a:ea typeface="Calibri" panose="020F0502020204030204" pitchFamily="34" charset="0"/>
                      <a:cs typeface="Calibri" panose="020F0502020204030204" pitchFamily="34" charset="0"/>
                    </a:rPr>
                    <a:t>Performance and efficiency in large dungeons</a:t>
                  </a:r>
                </a:p>
              </p:txBody>
            </p:sp>
            <p:sp>
              <p:nvSpPr>
                <p:cNvPr id="26" name="矩形: 对角圆角 25">
                  <a:extLst>
                    <a:ext uri="{FF2B5EF4-FFF2-40B4-BE49-F238E27FC236}">
                      <a16:creationId xmlns:a16="http://schemas.microsoft.com/office/drawing/2014/main" id="{0456F219-4C75-2BF3-639B-F2097E7DEFD5}"/>
                    </a:ext>
                  </a:extLst>
                </p:cNvPr>
                <p:cNvSpPr/>
                <p:nvPr/>
              </p:nvSpPr>
              <p:spPr>
                <a:xfrm flipH="1">
                  <a:off x="4168857" y="1913083"/>
                  <a:ext cx="1288800" cy="1288800"/>
                </a:xfrm>
                <a:prstGeom prst="round2DiagRect">
                  <a:avLst/>
                </a:prstGeom>
                <a:solidFill>
                  <a:srgbClr val="FFFFFF"/>
                </a:solidFill>
                <a:ln w="254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4000" b="1" dirty="0">
                      <a:solidFill>
                        <a:schemeClr val="accent1"/>
                      </a:solidFill>
                      <a:latin typeface="Calibri" panose="020F0502020204030204" pitchFamily="34" charset="0"/>
                      <a:ea typeface="Calibri" panose="020F0502020204030204" pitchFamily="34" charset="0"/>
                      <a:cs typeface="Calibri" panose="020F0502020204030204" pitchFamily="34" charset="0"/>
                    </a:rPr>
                    <a:t>W</a:t>
                  </a:r>
                  <a:endParaRPr lang="zh-CN" altLang="en-US" sz="4000" b="1" dirty="0">
                    <a:solidFill>
                      <a:schemeClr val="accent1"/>
                    </a:solidFill>
                    <a:latin typeface="Calibri" panose="020F0502020204030204" pitchFamily="34" charset="0"/>
                    <a:ea typeface="等线 Light" panose="02010600030101010101" pitchFamily="2" charset="-122"/>
                    <a:cs typeface="Calibri" panose="020F0502020204030204" pitchFamily="34" charset="0"/>
                  </a:endParaRPr>
                </a:p>
              </p:txBody>
            </p:sp>
          </p:grpSp>
        </p:grpSp>
        <p:grpSp>
          <p:nvGrpSpPr>
            <p:cNvPr id="7" name="组合 6">
              <a:extLst>
                <a:ext uri="{FF2B5EF4-FFF2-40B4-BE49-F238E27FC236}">
                  <a16:creationId xmlns:a16="http://schemas.microsoft.com/office/drawing/2014/main" id="{BD951F3F-6032-70A4-BE35-DB425CDB83CB}"/>
                </a:ext>
              </a:extLst>
            </p:cNvPr>
            <p:cNvGrpSpPr/>
            <p:nvPr/>
          </p:nvGrpSpPr>
          <p:grpSpPr>
            <a:xfrm>
              <a:off x="666751" y="3586624"/>
              <a:ext cx="5429248" cy="2444750"/>
              <a:chOff x="666751" y="1447800"/>
              <a:chExt cx="5429248" cy="2444750"/>
            </a:xfrm>
          </p:grpSpPr>
          <p:sp>
            <p:nvSpPr>
              <p:cNvPr id="15" name="直角三角形 14">
                <a:extLst>
                  <a:ext uri="{FF2B5EF4-FFF2-40B4-BE49-F238E27FC236}">
                    <a16:creationId xmlns:a16="http://schemas.microsoft.com/office/drawing/2014/main" id="{9BB95DC7-1BCF-AF7E-FBDA-936DF898C775}"/>
                  </a:ext>
                </a:extLst>
              </p:cNvPr>
              <p:cNvSpPr/>
              <p:nvPr/>
            </p:nvSpPr>
            <p:spPr>
              <a:xfrm flipH="1" flipV="1">
                <a:off x="3651249" y="1447800"/>
                <a:ext cx="2444750" cy="2444750"/>
              </a:xfrm>
              <a:prstGeom prst="rtTriangle">
                <a:avLst/>
              </a:prstGeom>
              <a:solidFill>
                <a:schemeClr val="tx2">
                  <a:lumMod val="60000"/>
                  <a:lumOff val="40000"/>
                </a:schemeClr>
              </a:solid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dirty="0"/>
              </a:p>
            </p:txBody>
          </p:sp>
          <p:grpSp>
            <p:nvGrpSpPr>
              <p:cNvPr id="16" name="组合 15">
                <a:extLst>
                  <a:ext uri="{FF2B5EF4-FFF2-40B4-BE49-F238E27FC236}">
                    <a16:creationId xmlns:a16="http://schemas.microsoft.com/office/drawing/2014/main" id="{BC3CEAC4-0964-DD0A-EF0D-3B4208414DF5}"/>
                  </a:ext>
                </a:extLst>
              </p:cNvPr>
              <p:cNvGrpSpPr/>
              <p:nvPr/>
            </p:nvGrpSpPr>
            <p:grpSpPr>
              <a:xfrm>
                <a:off x="666751" y="1913083"/>
                <a:ext cx="4790907" cy="1288800"/>
                <a:chOff x="666751" y="1913083"/>
                <a:chExt cx="4790907" cy="1288800"/>
              </a:xfrm>
            </p:grpSpPr>
            <p:sp>
              <p:nvSpPr>
                <p:cNvPr id="17" name="矩形: 圆角 16">
                  <a:extLst>
                    <a:ext uri="{FF2B5EF4-FFF2-40B4-BE49-F238E27FC236}">
                      <a16:creationId xmlns:a16="http://schemas.microsoft.com/office/drawing/2014/main" id="{9BAEB544-05BF-C7BF-880A-4BD1C2E56A8F}"/>
                    </a:ext>
                  </a:extLst>
                </p:cNvPr>
                <p:cNvSpPr/>
                <p:nvPr/>
              </p:nvSpPr>
              <p:spPr>
                <a:xfrm flipH="1">
                  <a:off x="666751" y="1913083"/>
                  <a:ext cx="4790907" cy="1288800"/>
                </a:xfrm>
                <a:prstGeom prst="roundRect">
                  <a:avLst>
                    <a:gd name="adj" fmla="val 8000"/>
                  </a:avLst>
                </a:prstGeom>
                <a:solidFill>
                  <a:schemeClr val="tx2">
                    <a:alpha val="15000"/>
                  </a:schemeClr>
                </a:solidFill>
                <a:ln w="6055" cap="flat">
                  <a:noFill/>
                  <a:prstDash val="solid"/>
                  <a:miter/>
                </a:ln>
              </p:spPr>
              <p:txBody>
                <a:bodyPr rtlCol="0" anchor="ctr"/>
                <a:lstStyle/>
                <a:p>
                  <a:endParaRPr lang="zh-CN" altLang="en-US"/>
                </a:p>
              </p:txBody>
            </p:sp>
            <p:sp>
              <p:nvSpPr>
                <p:cNvPr id="18" name="矩形 17">
                  <a:extLst>
                    <a:ext uri="{FF2B5EF4-FFF2-40B4-BE49-F238E27FC236}">
                      <a16:creationId xmlns:a16="http://schemas.microsoft.com/office/drawing/2014/main" id="{4C72A5B5-E4ED-D918-917A-04094ECFB2E6}"/>
                    </a:ext>
                  </a:extLst>
                </p:cNvPr>
                <p:cNvSpPr/>
                <p:nvPr/>
              </p:nvSpPr>
              <p:spPr>
                <a:xfrm flipH="1">
                  <a:off x="800099" y="2054416"/>
                  <a:ext cx="325213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p>
                  <a:r>
                    <a:rPr lang="en-US" altLang="zh-CN" sz="1600" b="1" dirty="0">
                      <a:solidFill>
                        <a:schemeClr val="tx1"/>
                      </a:solidFill>
                      <a:effectLst/>
                      <a:latin typeface="等线" panose="02010600030101010101" pitchFamily="2" charset="-122"/>
                      <a:ea typeface="等线" panose="02010600030101010101" pitchFamily="2" charset="-122"/>
                    </a:rPr>
                    <a:t>Optimality</a:t>
                  </a:r>
                  <a:endParaRPr lang="en-US" altLang="zh-CN" sz="1600" b="1" dirty="0">
                    <a:solidFill>
                      <a:schemeClr val="tx1"/>
                    </a:solidFill>
                    <a:latin typeface="等线" panose="02010600030101010101" pitchFamily="2" charset="-122"/>
                    <a:ea typeface="等线" panose="02010600030101010101" pitchFamily="2" charset="-122"/>
                  </a:endParaRPr>
                </a:p>
              </p:txBody>
            </p:sp>
            <p:sp>
              <p:nvSpPr>
                <p:cNvPr id="19" name="矩形 18">
                  <a:extLst>
                    <a:ext uri="{FF2B5EF4-FFF2-40B4-BE49-F238E27FC236}">
                      <a16:creationId xmlns:a16="http://schemas.microsoft.com/office/drawing/2014/main" id="{569F7176-CD26-7104-23A9-2096DC0AFF94}"/>
                    </a:ext>
                  </a:extLst>
                </p:cNvPr>
                <p:cNvSpPr/>
                <p:nvPr/>
              </p:nvSpPr>
              <p:spPr>
                <a:xfrm flipH="1">
                  <a:off x="800099" y="2404544"/>
                  <a:ext cx="3252129" cy="5535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marL="171450" indent="-171450" algn="just">
                    <a:lnSpc>
                      <a:spcPct val="130000"/>
                    </a:lnSpc>
                    <a:buFont typeface="Arial" panose="020B0604020202020204" pitchFamily="34" charset="0"/>
                    <a:buChar char="•"/>
                  </a:pPr>
                  <a:r>
                    <a:rPr kumimoji="1" lang="en-US" altLang="zh-CN" sz="1200" dirty="0">
                      <a:solidFill>
                        <a:schemeClr val="tx1"/>
                      </a:solidFill>
                      <a:latin typeface="Calibri" panose="020F0502020204030204" pitchFamily="34" charset="0"/>
                      <a:ea typeface="Calibri" panose="020F0502020204030204" pitchFamily="34" charset="0"/>
                      <a:cs typeface="Calibri" panose="020F0502020204030204" pitchFamily="34" charset="0"/>
                    </a:rPr>
                    <a:t>Minimal number of moves</a:t>
                  </a:r>
                </a:p>
                <a:p>
                  <a:pPr marL="171450" indent="-171450" algn="just">
                    <a:lnSpc>
                      <a:spcPct val="130000"/>
                    </a:lnSpc>
                    <a:buFont typeface="Arial" panose="020B0604020202020204" pitchFamily="34" charset="0"/>
                    <a:buChar char="•"/>
                  </a:pPr>
                  <a:r>
                    <a:rPr kumimoji="1" lang="en-US" altLang="zh-CN" sz="1200" dirty="0">
                      <a:solidFill>
                        <a:schemeClr val="tx1"/>
                      </a:solidFill>
                      <a:latin typeface="Calibri" panose="020F0502020204030204" pitchFamily="34" charset="0"/>
                      <a:ea typeface="Calibri" panose="020F0502020204030204" pitchFamily="34" charset="0"/>
                      <a:cs typeface="Calibri" panose="020F0502020204030204" pitchFamily="34" charset="0"/>
                    </a:rPr>
                    <a:t>Level by level searching</a:t>
                  </a:r>
                </a:p>
              </p:txBody>
            </p:sp>
            <p:sp>
              <p:nvSpPr>
                <p:cNvPr id="20" name="矩形: 对角圆角 19">
                  <a:extLst>
                    <a:ext uri="{FF2B5EF4-FFF2-40B4-BE49-F238E27FC236}">
                      <a16:creationId xmlns:a16="http://schemas.microsoft.com/office/drawing/2014/main" id="{9E6FB446-C0F2-99BA-E68E-8148B47491BD}"/>
                    </a:ext>
                  </a:extLst>
                </p:cNvPr>
                <p:cNvSpPr/>
                <p:nvPr/>
              </p:nvSpPr>
              <p:spPr>
                <a:xfrm flipH="1">
                  <a:off x="4168857" y="1913083"/>
                  <a:ext cx="1288800" cy="1288800"/>
                </a:xfrm>
                <a:prstGeom prst="round2DiagRect">
                  <a:avLst/>
                </a:prstGeom>
                <a:solidFill>
                  <a:srgbClr val="FFFFFF"/>
                </a:solidFill>
                <a:ln w="254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4000" b="1" dirty="0">
                      <a:solidFill>
                        <a:schemeClr val="accent1"/>
                      </a:solidFill>
                      <a:latin typeface="Calibri" panose="020F0502020204030204" pitchFamily="34" charset="0"/>
                      <a:ea typeface="Calibri" panose="020F0502020204030204" pitchFamily="34" charset="0"/>
                      <a:cs typeface="Calibri" panose="020F0502020204030204" pitchFamily="34" charset="0"/>
                    </a:rPr>
                    <a:t>O</a:t>
                  </a:r>
                  <a:endParaRPr lang="zh-CN" altLang="en-US" sz="4000" b="1" dirty="0">
                    <a:solidFill>
                      <a:schemeClr val="accent1"/>
                    </a:solidFill>
                    <a:latin typeface="Calibri" panose="020F0502020204030204" pitchFamily="34" charset="0"/>
                    <a:ea typeface="等线 Light" panose="02010600030101010101" pitchFamily="2" charset="-122"/>
                    <a:cs typeface="Calibri" panose="020F0502020204030204" pitchFamily="34" charset="0"/>
                  </a:endParaRPr>
                </a:p>
              </p:txBody>
            </p:sp>
          </p:grpSp>
        </p:grpSp>
        <p:grpSp>
          <p:nvGrpSpPr>
            <p:cNvPr id="8" name="组合 7">
              <a:extLst>
                <a:ext uri="{FF2B5EF4-FFF2-40B4-BE49-F238E27FC236}">
                  <a16:creationId xmlns:a16="http://schemas.microsoft.com/office/drawing/2014/main" id="{E9AF7D30-8F2F-80E1-6FEC-E96C30CD2A0E}"/>
                </a:ext>
              </a:extLst>
            </p:cNvPr>
            <p:cNvGrpSpPr/>
            <p:nvPr/>
          </p:nvGrpSpPr>
          <p:grpSpPr>
            <a:xfrm flipH="1">
              <a:off x="6089652" y="3586624"/>
              <a:ext cx="5604365" cy="2444750"/>
              <a:chOff x="491634" y="1447800"/>
              <a:chExt cx="5604365" cy="2444750"/>
            </a:xfrm>
          </p:grpSpPr>
          <p:sp>
            <p:nvSpPr>
              <p:cNvPr id="9" name="直角三角形 8">
                <a:extLst>
                  <a:ext uri="{FF2B5EF4-FFF2-40B4-BE49-F238E27FC236}">
                    <a16:creationId xmlns:a16="http://schemas.microsoft.com/office/drawing/2014/main" id="{5D57F6C5-5AEF-B83A-0D38-7BA110FBFE3F}"/>
                  </a:ext>
                </a:extLst>
              </p:cNvPr>
              <p:cNvSpPr/>
              <p:nvPr/>
            </p:nvSpPr>
            <p:spPr>
              <a:xfrm flipH="1" flipV="1">
                <a:off x="3651249" y="1447800"/>
                <a:ext cx="2444750" cy="2444750"/>
              </a:xfrm>
              <a:prstGeom prst="rtTriangle">
                <a:avLst/>
              </a:prstGeom>
              <a:solidFill>
                <a:schemeClr val="accent1">
                  <a:alpha val="50000"/>
                </a:schemeClr>
              </a:solid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grpSp>
            <p:nvGrpSpPr>
              <p:cNvPr id="10" name="组合 9">
                <a:extLst>
                  <a:ext uri="{FF2B5EF4-FFF2-40B4-BE49-F238E27FC236}">
                    <a16:creationId xmlns:a16="http://schemas.microsoft.com/office/drawing/2014/main" id="{E13D4079-A476-D24F-3905-4C508545544F}"/>
                  </a:ext>
                </a:extLst>
              </p:cNvPr>
              <p:cNvGrpSpPr/>
              <p:nvPr/>
            </p:nvGrpSpPr>
            <p:grpSpPr>
              <a:xfrm>
                <a:off x="491634" y="1913083"/>
                <a:ext cx="4966024" cy="1288800"/>
                <a:chOff x="491634" y="1913083"/>
                <a:chExt cx="4966024" cy="1288800"/>
              </a:xfrm>
            </p:grpSpPr>
            <p:sp>
              <p:nvSpPr>
                <p:cNvPr id="11" name="矩形: 圆角 10">
                  <a:extLst>
                    <a:ext uri="{FF2B5EF4-FFF2-40B4-BE49-F238E27FC236}">
                      <a16:creationId xmlns:a16="http://schemas.microsoft.com/office/drawing/2014/main" id="{21BA7AD7-3483-C5C0-8BC0-34F69D98FCD8}"/>
                    </a:ext>
                  </a:extLst>
                </p:cNvPr>
                <p:cNvSpPr/>
                <p:nvPr/>
              </p:nvSpPr>
              <p:spPr>
                <a:xfrm flipH="1">
                  <a:off x="666751" y="1913083"/>
                  <a:ext cx="4790907" cy="1288800"/>
                </a:xfrm>
                <a:prstGeom prst="roundRect">
                  <a:avLst>
                    <a:gd name="adj" fmla="val 8000"/>
                  </a:avLst>
                </a:prstGeom>
                <a:solidFill>
                  <a:schemeClr val="tx2">
                    <a:alpha val="15000"/>
                  </a:schemeClr>
                </a:solidFill>
                <a:ln w="6055" cap="flat">
                  <a:noFill/>
                  <a:prstDash val="solid"/>
                  <a:miter/>
                </a:ln>
              </p:spPr>
              <p:txBody>
                <a:bodyPr rtlCol="0" anchor="ctr"/>
                <a:lstStyle/>
                <a:p>
                  <a:endParaRPr lang="zh-CN" altLang="en-US"/>
                </a:p>
              </p:txBody>
            </p:sp>
            <p:sp>
              <p:nvSpPr>
                <p:cNvPr id="12" name="矩形 11">
                  <a:extLst>
                    <a:ext uri="{FF2B5EF4-FFF2-40B4-BE49-F238E27FC236}">
                      <a16:creationId xmlns:a16="http://schemas.microsoft.com/office/drawing/2014/main" id="{A5D35B8C-D686-E3CE-5C9A-BD5CA0C9ED6E}"/>
                    </a:ext>
                  </a:extLst>
                </p:cNvPr>
                <p:cNvSpPr/>
                <p:nvPr/>
              </p:nvSpPr>
              <p:spPr>
                <a:xfrm flipH="1">
                  <a:off x="800099" y="2054416"/>
                  <a:ext cx="325213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p>
                  <a:r>
                    <a:rPr lang="en-US" altLang="zh-CN" sz="1600" b="1" dirty="0">
                      <a:solidFill>
                        <a:schemeClr val="tx1"/>
                      </a:solidFill>
                      <a:effectLst/>
                      <a:latin typeface="等线" panose="02010600030101010101" pitchFamily="2" charset="-122"/>
                      <a:ea typeface="等线" panose="02010600030101010101" pitchFamily="2" charset="-122"/>
                    </a:rPr>
                    <a:t>Correctness</a:t>
                  </a:r>
                  <a:endParaRPr lang="en-US" altLang="zh-CN" sz="1600" b="1" dirty="0">
                    <a:solidFill>
                      <a:schemeClr val="tx1"/>
                    </a:solidFill>
                    <a:latin typeface="等线" panose="02010600030101010101" pitchFamily="2" charset="-122"/>
                    <a:ea typeface="等线" panose="02010600030101010101" pitchFamily="2" charset="-122"/>
                  </a:endParaRPr>
                </a:p>
              </p:txBody>
            </p:sp>
            <p:sp>
              <p:nvSpPr>
                <p:cNvPr id="13" name="矩形 12">
                  <a:extLst>
                    <a:ext uri="{FF2B5EF4-FFF2-40B4-BE49-F238E27FC236}">
                      <a16:creationId xmlns:a16="http://schemas.microsoft.com/office/drawing/2014/main" id="{BF237F40-FB02-136A-430D-6E9D2CFDDD07}"/>
                    </a:ext>
                  </a:extLst>
                </p:cNvPr>
                <p:cNvSpPr/>
                <p:nvPr/>
              </p:nvSpPr>
              <p:spPr>
                <a:xfrm flipH="1">
                  <a:off x="491634" y="2353032"/>
                  <a:ext cx="3560594" cy="7931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marL="171450" indent="-171450">
                    <a:lnSpc>
                      <a:spcPct val="130000"/>
                    </a:lnSpc>
                    <a:buFont typeface="Arial" panose="020B0604020202020204" pitchFamily="34" charset="0"/>
                    <a:buChar char="•"/>
                  </a:pPr>
                  <a:r>
                    <a:rPr kumimoji="1" lang="en-US" altLang="zh-CN" sz="1200" dirty="0">
                      <a:solidFill>
                        <a:schemeClr val="tx1"/>
                      </a:solidFill>
                      <a:latin typeface="Calibri" panose="020F0502020204030204" pitchFamily="34" charset="0"/>
                      <a:ea typeface="Calibri" panose="020F0502020204030204" pitchFamily="34" charset="0"/>
                      <a:cs typeface="Calibri" panose="020F0502020204030204" pitchFamily="34" charset="0"/>
                    </a:rPr>
                    <a:t>Systematic exploration of all possible paths in a breadth-first manner</a:t>
                  </a:r>
                </a:p>
                <a:p>
                  <a:pPr marL="171450" indent="-171450">
                    <a:lnSpc>
                      <a:spcPct val="130000"/>
                    </a:lnSpc>
                    <a:buFont typeface="Arial" panose="020B0604020202020204" pitchFamily="34" charset="0"/>
                    <a:buChar char="•"/>
                  </a:pPr>
                  <a:r>
                    <a:rPr kumimoji="1" lang="en-US" altLang="zh-CN" sz="1200" dirty="0">
                      <a:solidFill>
                        <a:schemeClr val="tx1"/>
                      </a:solidFill>
                      <a:latin typeface="Calibri" panose="020F0502020204030204" pitchFamily="34" charset="0"/>
                      <a:ea typeface="Calibri" panose="020F0502020204030204" pitchFamily="34" charset="0"/>
                      <a:cs typeface="Calibri" panose="020F0502020204030204" pitchFamily="34" charset="0"/>
                    </a:rPr>
                    <a:t>Distance array helps record and backtrack route</a:t>
                  </a:r>
                </a:p>
              </p:txBody>
            </p:sp>
            <p:sp>
              <p:nvSpPr>
                <p:cNvPr id="14" name="矩形: 对角圆角 13">
                  <a:extLst>
                    <a:ext uri="{FF2B5EF4-FFF2-40B4-BE49-F238E27FC236}">
                      <a16:creationId xmlns:a16="http://schemas.microsoft.com/office/drawing/2014/main" id="{BD478792-718C-09B2-E9B1-3204A832F763}"/>
                    </a:ext>
                  </a:extLst>
                </p:cNvPr>
                <p:cNvSpPr/>
                <p:nvPr/>
              </p:nvSpPr>
              <p:spPr>
                <a:xfrm flipH="1">
                  <a:off x="4168857" y="1913083"/>
                  <a:ext cx="1288800" cy="1288800"/>
                </a:xfrm>
                <a:prstGeom prst="round2DiagRect">
                  <a:avLst/>
                </a:prstGeom>
                <a:solidFill>
                  <a:srgbClr val="FFFFFF"/>
                </a:solidFill>
                <a:ln w="254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4000" b="1" dirty="0">
                      <a:solidFill>
                        <a:schemeClr val="accent1"/>
                      </a:solidFill>
                      <a:latin typeface="Calibri" panose="020F0502020204030204" pitchFamily="34" charset="0"/>
                      <a:ea typeface="Calibri" panose="020F0502020204030204" pitchFamily="34" charset="0"/>
                      <a:cs typeface="Calibri" panose="020F0502020204030204" pitchFamily="34" charset="0"/>
                    </a:rPr>
                    <a:t>C</a:t>
                  </a:r>
                  <a:endParaRPr lang="zh-CN" altLang="en-US" sz="4000" b="1" dirty="0">
                    <a:solidFill>
                      <a:schemeClr val="accent1"/>
                    </a:solidFill>
                    <a:latin typeface="Calibri" panose="020F0502020204030204" pitchFamily="34" charset="0"/>
                    <a:ea typeface="等线 Light" panose="02010600030101010101" pitchFamily="2" charset="-122"/>
                    <a:cs typeface="Calibri" panose="020F0502020204030204" pitchFamily="34" charset="0"/>
                  </a:endParaRPr>
                </a:p>
              </p:txBody>
            </p:sp>
          </p:grpSp>
        </p:grpSp>
      </p:grpSp>
      <p:sp>
        <p:nvSpPr>
          <p:cNvPr id="2" name="文本框 1">
            <a:extLst>
              <a:ext uri="{FF2B5EF4-FFF2-40B4-BE49-F238E27FC236}">
                <a16:creationId xmlns:a16="http://schemas.microsoft.com/office/drawing/2014/main" id="{83DC5785-3AC7-480F-512D-236D3AF403B5}"/>
              </a:ext>
            </a:extLst>
          </p:cNvPr>
          <p:cNvSpPr txBox="1"/>
          <p:nvPr/>
        </p:nvSpPr>
        <p:spPr>
          <a:xfrm>
            <a:off x="800099" y="523110"/>
            <a:ext cx="3458845" cy="461645"/>
          </a:xfrm>
          <a:prstGeom prst="rect">
            <a:avLst/>
          </a:prstGeom>
          <a:noFill/>
          <a:ln w="0">
            <a:noFill/>
          </a:ln>
        </p:spPr>
        <p:txBody>
          <a:bodyPr vert="horz" wrap="square" lIns="89535" tIns="46355" rIns="89535" bIns="46355" numCol="1" anchor="t">
            <a:spAutoFit/>
          </a:bodyPr>
          <a:lstStyle/>
          <a:p>
            <a:pPr marL="0" marR="0" lvl="0" indent="0" algn="l" defTabSz="508000" rtl="0" eaLnBrk="0" fontAlgn="auto" latinLnBrk="0" hangingPunct="1">
              <a:lnSpc>
                <a:spcPct val="100000"/>
              </a:lnSpc>
              <a:spcBef>
                <a:spcPts val="0"/>
              </a:spcBef>
              <a:spcAft>
                <a:spcPts val="0"/>
              </a:spcAft>
              <a:buClrTx/>
              <a:buSzTx/>
              <a:buFontTx/>
              <a:buNone/>
              <a:tabLst/>
              <a:defRPr/>
            </a:pPr>
            <a:r>
              <a:rPr kumimoji="0" lang="en-US" altLang="zh-CN" sz="24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YRDZST"/>
              </a:rPr>
              <a:t>Monster Algorithm</a:t>
            </a:r>
            <a:endParaRPr kumimoji="0" lang="ko-KR" altLang="en-US" sz="2400" b="1" i="0" u="none" strike="noStrike" kern="1200" cap="none" spc="0" normalizeH="0" baseline="0" noProof="0" dirty="0">
              <a:ln>
                <a:noFill/>
              </a:ln>
              <a:solidFill>
                <a:srgbClr val="F0F0F0">
                  <a:lumMod val="25000"/>
                </a:srgbClr>
              </a:solidFill>
              <a:effectLst/>
              <a:uLnTx/>
              <a:uFillTx/>
              <a:latin typeface="Calibri" panose="020F0502020204030204" pitchFamily="34" charset="0"/>
              <a:ea typeface="微软雅黑" panose="020B0503020204020204" charset="-122"/>
              <a:cs typeface="Calibri" panose="020F0502020204030204" pitchFamily="34" charset="0"/>
              <a:sym typeface="YRDZST"/>
            </a:endParaRPr>
          </a:p>
        </p:txBody>
      </p:sp>
    </p:spTree>
    <p:custDataLst>
      <p:tags r:id="rId1"/>
    </p:custDataLst>
    <p:extLst>
      <p:ext uri="{BB962C8B-B14F-4D97-AF65-F5344CB8AC3E}">
        <p14:creationId xmlns:p14="http://schemas.microsoft.com/office/powerpoint/2010/main" val="326138629"/>
      </p:ext>
    </p:extLst>
  </p:cSld>
  <p:clrMapOvr>
    <a:masterClrMapping/>
  </p:clrMapOvr>
  <mc:AlternateContent xmlns:mc="http://schemas.openxmlformats.org/markup-compatibility/2006" xmlns:p14="http://schemas.microsoft.com/office/powerpoint/2010/main">
    <mc:Choice Requires="p14">
      <p:transition spd="slow" p14:dur="1500" advClick="0" advTm="1000">
        <p:random/>
      </p:transition>
    </mc:Choice>
    <mc:Fallback xmlns="">
      <p:transition spd="slow" advClick="0" advTm="1000">
        <p:random/>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圆角 1">
            <a:extLst>
              <a:ext uri="{FF2B5EF4-FFF2-40B4-BE49-F238E27FC236}">
                <a16:creationId xmlns:a16="http://schemas.microsoft.com/office/drawing/2014/main" id="{FB7E3280-A4EA-1C5D-3679-6DC3531BAC3F}"/>
              </a:ext>
            </a:extLst>
          </p:cNvPr>
          <p:cNvSpPr/>
          <p:nvPr/>
        </p:nvSpPr>
        <p:spPr>
          <a:xfrm>
            <a:off x="66426" y="1053222"/>
            <a:ext cx="8304841" cy="2683962"/>
          </a:xfrm>
          <a:prstGeom prst="roundRect">
            <a:avLst>
              <a:gd name="adj" fmla="val 5089"/>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just">
              <a:spcBef>
                <a:spcPts val="0"/>
              </a:spcBef>
              <a:spcAft>
                <a:spcPts val="0"/>
              </a:spcAft>
            </a:pPr>
            <a:r>
              <a:rPr lang="en-US" altLang="zh-CN" sz="1800" b="1" kern="100">
                <a:effectLst/>
                <a:latin typeface="Calibri" panose="020F0502020204030204" pitchFamily="34" charset="0"/>
                <a:ea typeface="等线" panose="02010600030101010101" pitchFamily="2" charset="-122"/>
                <a:cs typeface="Calibri" panose="020F0502020204030204" pitchFamily="34" charset="0"/>
              </a:rPr>
              <a:t>Central Monster, Edge or Corner Rogue </a:t>
            </a:r>
            <a:r>
              <a:rPr lang="en-US" altLang="zh-CN" sz="1800" b="1" kern="100">
                <a:effectLst/>
                <a:latin typeface="Calibri" panose="020F0502020204030204" pitchFamily="34" charset="0"/>
                <a:ea typeface="等线" panose="02010600030101010101" pitchFamily="2" charset="-122"/>
                <a:cs typeface="Times New Roman" panose="02020603050405020304" pitchFamily="18" charset="0"/>
              </a:rPr>
              <a:t>–</a:t>
            </a:r>
            <a:r>
              <a:rPr lang="en-US" altLang="zh-CN" sz="1800" b="1" kern="100">
                <a:effectLst/>
                <a:latin typeface="等线" panose="02010600030101010101" pitchFamily="2" charset="-122"/>
                <a:ea typeface="等线" panose="02010600030101010101" pitchFamily="2" charset="-122"/>
                <a:cs typeface="Calibri" panose="020F0502020204030204" pitchFamily="34" charset="0"/>
              </a:rPr>
              <a:t> </a:t>
            </a:r>
            <a:r>
              <a:rPr lang="en-US" altLang="zh-CN" sz="1800" b="1" kern="100">
                <a:effectLst/>
                <a:latin typeface="Calibri" panose="020F0502020204030204" pitchFamily="34" charset="0"/>
                <a:ea typeface="等线" panose="02010600030101010101" pitchFamily="2" charset="-122"/>
                <a:cs typeface="Calibri" panose="020F0502020204030204" pitchFamily="34" charset="0"/>
              </a:rPr>
              <a:t>Dungeon P, R</a:t>
            </a:r>
            <a:endParaRPr lang="en-US" altLang="zh-CN" sz="1800" kern="100">
              <a:effectLst/>
              <a:latin typeface="等线" panose="02010600030101010101" pitchFamily="2" charset="-122"/>
              <a:ea typeface="等线" panose="02010600030101010101" pitchFamily="2" charset="-122"/>
              <a:cs typeface="Times New Roman" panose="02020603050405020304" pitchFamily="18" charset="0"/>
            </a:endParaRPr>
          </a:p>
        </p:txBody>
      </p:sp>
      <p:pic>
        <p:nvPicPr>
          <p:cNvPr id="7" name="图片 6">
            <a:extLst>
              <a:ext uri="{FF2B5EF4-FFF2-40B4-BE49-F238E27FC236}">
                <a16:creationId xmlns:a16="http://schemas.microsoft.com/office/drawing/2014/main" id="{900F99D6-4BC3-0FE4-4C50-D0DA9FE774B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65873" y="1847630"/>
            <a:ext cx="5611446" cy="1795491"/>
          </a:xfrm>
          <a:prstGeom prst="rect">
            <a:avLst/>
          </a:prstGeom>
        </p:spPr>
      </p:pic>
      <p:sp>
        <p:nvSpPr>
          <p:cNvPr id="9" name="矩形: 圆角 8">
            <a:extLst>
              <a:ext uri="{FF2B5EF4-FFF2-40B4-BE49-F238E27FC236}">
                <a16:creationId xmlns:a16="http://schemas.microsoft.com/office/drawing/2014/main" id="{6381B5B3-34D6-27FA-8239-6B86AE830D0F}"/>
              </a:ext>
            </a:extLst>
          </p:cNvPr>
          <p:cNvSpPr/>
          <p:nvPr/>
        </p:nvSpPr>
        <p:spPr>
          <a:xfrm>
            <a:off x="8573495" y="1053223"/>
            <a:ext cx="3506564" cy="3641126"/>
          </a:xfrm>
          <a:prstGeom prst="roundRect">
            <a:avLst>
              <a:gd name="adj" fmla="val 5089"/>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3" name="矩形: 圆角 22">
            <a:extLst>
              <a:ext uri="{FF2B5EF4-FFF2-40B4-BE49-F238E27FC236}">
                <a16:creationId xmlns:a16="http://schemas.microsoft.com/office/drawing/2014/main" id="{23662369-F9F3-7DE1-425F-500E9C4A7CD8}"/>
              </a:ext>
            </a:extLst>
          </p:cNvPr>
          <p:cNvSpPr/>
          <p:nvPr/>
        </p:nvSpPr>
        <p:spPr>
          <a:xfrm>
            <a:off x="5470042" y="4752418"/>
            <a:ext cx="6610017" cy="2021869"/>
          </a:xfrm>
          <a:prstGeom prst="roundRect">
            <a:avLst>
              <a:gd name="adj" fmla="val 5089"/>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4" name="矩形: 圆角 23">
            <a:extLst>
              <a:ext uri="{FF2B5EF4-FFF2-40B4-BE49-F238E27FC236}">
                <a16:creationId xmlns:a16="http://schemas.microsoft.com/office/drawing/2014/main" id="{D8A27C09-DF24-C504-FA1D-C2232DD3B0DB}"/>
              </a:ext>
            </a:extLst>
          </p:cNvPr>
          <p:cNvSpPr/>
          <p:nvPr/>
        </p:nvSpPr>
        <p:spPr>
          <a:xfrm>
            <a:off x="66426" y="3907155"/>
            <a:ext cx="5281591" cy="2867132"/>
          </a:xfrm>
          <a:prstGeom prst="roundRect">
            <a:avLst>
              <a:gd name="adj" fmla="val 5089"/>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25" name="图片 24">
            <a:extLst>
              <a:ext uri="{FF2B5EF4-FFF2-40B4-BE49-F238E27FC236}">
                <a16:creationId xmlns:a16="http://schemas.microsoft.com/office/drawing/2014/main" id="{B9972D32-87C9-97B9-E7B9-5114D62B5CF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76766" y="1277111"/>
            <a:ext cx="2366010" cy="2366010"/>
          </a:xfrm>
          <a:prstGeom prst="rect">
            <a:avLst/>
          </a:prstGeom>
        </p:spPr>
      </p:pic>
      <p:pic>
        <p:nvPicPr>
          <p:cNvPr id="26" name="图片 25">
            <a:extLst>
              <a:ext uri="{FF2B5EF4-FFF2-40B4-BE49-F238E27FC236}">
                <a16:creationId xmlns:a16="http://schemas.microsoft.com/office/drawing/2014/main" id="{83BA24E2-4523-7234-E920-EFD3D936D35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868244" y="1620553"/>
            <a:ext cx="2917065" cy="2917065"/>
          </a:xfrm>
          <a:prstGeom prst="rect">
            <a:avLst/>
          </a:prstGeom>
        </p:spPr>
      </p:pic>
      <p:pic>
        <p:nvPicPr>
          <p:cNvPr id="27" name="图片 26">
            <a:extLst>
              <a:ext uri="{FF2B5EF4-FFF2-40B4-BE49-F238E27FC236}">
                <a16:creationId xmlns:a16="http://schemas.microsoft.com/office/drawing/2014/main" id="{2ADB3EE2-7082-27C9-5566-0225BFEBAF9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53414" y="4336425"/>
            <a:ext cx="4002422" cy="2352192"/>
          </a:xfrm>
          <a:prstGeom prst="rect">
            <a:avLst/>
          </a:prstGeom>
        </p:spPr>
      </p:pic>
      <p:pic>
        <p:nvPicPr>
          <p:cNvPr id="28" name="图片 27">
            <a:extLst>
              <a:ext uri="{FF2B5EF4-FFF2-40B4-BE49-F238E27FC236}">
                <a16:creationId xmlns:a16="http://schemas.microsoft.com/office/drawing/2014/main" id="{D88D9A88-6D70-A050-8BAF-4525CE8D2CF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148607" y="4838087"/>
            <a:ext cx="4809427" cy="1850530"/>
          </a:xfrm>
          <a:prstGeom prst="rect">
            <a:avLst/>
          </a:prstGeom>
        </p:spPr>
      </p:pic>
      <p:sp>
        <p:nvSpPr>
          <p:cNvPr id="29" name="文本框 28">
            <a:extLst>
              <a:ext uri="{FF2B5EF4-FFF2-40B4-BE49-F238E27FC236}">
                <a16:creationId xmlns:a16="http://schemas.microsoft.com/office/drawing/2014/main" id="{FA0E1C2C-A48E-27DE-8482-1617F7F48F20}"/>
              </a:ext>
            </a:extLst>
          </p:cNvPr>
          <p:cNvSpPr txBox="1"/>
          <p:nvPr/>
        </p:nvSpPr>
        <p:spPr>
          <a:xfrm>
            <a:off x="3674330" y="312301"/>
            <a:ext cx="5541978" cy="709168"/>
          </a:xfrm>
          <a:prstGeom prst="rect">
            <a:avLst/>
          </a:prstGeom>
          <a:noFill/>
          <a:ln w="0">
            <a:noFill/>
          </a:ln>
        </p:spPr>
        <p:txBody>
          <a:bodyPr vert="horz" wrap="square" lIns="89535" tIns="46355" rIns="89535" bIns="46355" numCol="1" anchor="t">
            <a:spAutoFit/>
          </a:bodyPr>
          <a:lstStyle/>
          <a:p>
            <a:pPr marL="0" marR="0" lvl="0" indent="0" algn="l" defTabSz="508000" rtl="0" eaLnBrk="0" fontAlgn="auto" latinLnBrk="0" hangingPunct="1">
              <a:lnSpc>
                <a:spcPct val="100000"/>
              </a:lnSpc>
              <a:spcBef>
                <a:spcPts val="0"/>
              </a:spcBef>
              <a:spcAft>
                <a:spcPts val="0"/>
              </a:spcAft>
              <a:buClrTx/>
              <a:buSzTx/>
              <a:buFontTx/>
              <a:buNone/>
              <a:tabLst/>
              <a:defRPr/>
            </a:pPr>
            <a:r>
              <a:rPr kumimoji="0" lang="en-US" altLang="zh-CN" sz="40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YRDZST"/>
              </a:rPr>
              <a:t>Dungeon Test Results</a:t>
            </a:r>
            <a:endParaRPr kumimoji="0" lang="ko-KR" altLang="en-US" sz="4000" b="1" i="0" u="none" strike="noStrike" kern="1200" cap="none" spc="0" normalizeH="0" baseline="0" noProof="0" dirty="0">
              <a:ln>
                <a:noFill/>
              </a:ln>
              <a:solidFill>
                <a:srgbClr val="F0F0F0">
                  <a:lumMod val="25000"/>
                </a:srgbClr>
              </a:solidFill>
              <a:effectLst/>
              <a:uLnTx/>
              <a:uFillTx/>
              <a:latin typeface="Calibri" panose="020F0502020204030204" pitchFamily="34" charset="0"/>
              <a:ea typeface="微软雅黑" panose="020B0503020204020204" charset="-122"/>
              <a:cs typeface="Calibri" panose="020F0502020204030204" pitchFamily="34" charset="0"/>
              <a:sym typeface="YRDZST"/>
            </a:endParaRPr>
          </a:p>
        </p:txBody>
      </p:sp>
      <p:sp>
        <p:nvSpPr>
          <p:cNvPr id="31" name="文本框 30">
            <a:extLst>
              <a:ext uri="{FF2B5EF4-FFF2-40B4-BE49-F238E27FC236}">
                <a16:creationId xmlns:a16="http://schemas.microsoft.com/office/drawing/2014/main" id="{62583FBF-2774-12BC-9B6B-F0656F8D2246}"/>
              </a:ext>
            </a:extLst>
          </p:cNvPr>
          <p:cNvSpPr txBox="1"/>
          <p:nvPr/>
        </p:nvSpPr>
        <p:spPr>
          <a:xfrm>
            <a:off x="373243" y="1272265"/>
            <a:ext cx="6094926" cy="369332"/>
          </a:xfrm>
          <a:prstGeom prst="rect">
            <a:avLst/>
          </a:prstGeom>
          <a:noFill/>
        </p:spPr>
        <p:txBody>
          <a:bodyPr wrap="square">
            <a:spAutoFit/>
          </a:bodyPr>
          <a:lstStyle/>
          <a:p>
            <a:pPr marL="0" marR="0" algn="just">
              <a:spcBef>
                <a:spcPts val="0"/>
              </a:spcBef>
              <a:spcAft>
                <a:spcPts val="0"/>
              </a:spcAft>
            </a:pPr>
            <a:r>
              <a:rPr lang="en-US" altLang="zh-CN" sz="1800" b="1" kern="100" dirty="0">
                <a:effectLst/>
                <a:latin typeface="Calibri" panose="020F0502020204030204" pitchFamily="34" charset="0"/>
                <a:ea typeface="等线" panose="02010600030101010101" pitchFamily="2" charset="-122"/>
                <a:cs typeface="Calibri" panose="020F0502020204030204" pitchFamily="34" charset="0"/>
              </a:rPr>
              <a:t>Central Monster, Edge or Corner Rogue </a:t>
            </a:r>
            <a:r>
              <a:rPr lang="en-US" altLang="zh-CN" sz="1800" b="1" kern="100" dirty="0">
                <a:effectLst/>
                <a:latin typeface="Calibri" panose="020F0502020204030204" pitchFamily="34" charset="0"/>
                <a:ea typeface="等线" panose="02010600030101010101" pitchFamily="2" charset="-122"/>
                <a:cs typeface="Times New Roman" panose="02020603050405020304" pitchFamily="18" charset="0"/>
              </a:rPr>
              <a:t>–</a:t>
            </a:r>
            <a:r>
              <a:rPr lang="en-US" altLang="zh-CN" sz="1800" b="1" kern="100" dirty="0">
                <a:effectLst/>
                <a:latin typeface="等线" panose="02010600030101010101" pitchFamily="2" charset="-122"/>
                <a:ea typeface="等线" panose="02010600030101010101" pitchFamily="2" charset="-122"/>
                <a:cs typeface="Calibri" panose="020F0502020204030204" pitchFamily="34" charset="0"/>
              </a:rPr>
              <a:t> </a:t>
            </a:r>
            <a:r>
              <a:rPr lang="en-US" altLang="zh-CN" sz="1800" b="1" kern="100" dirty="0">
                <a:effectLst/>
                <a:latin typeface="Calibri" panose="020F0502020204030204" pitchFamily="34" charset="0"/>
                <a:ea typeface="等线" panose="02010600030101010101" pitchFamily="2" charset="-122"/>
                <a:cs typeface="Calibri" panose="020F0502020204030204" pitchFamily="34" charset="0"/>
              </a:rPr>
              <a:t>Dungeon P, R</a:t>
            </a:r>
            <a:endParaRPr lang="en-US" altLang="zh-CN" sz="1400" kern="100" dirty="0">
              <a:effectLst/>
              <a:latin typeface="等线" panose="02010600030101010101" pitchFamily="2" charset="-122"/>
              <a:ea typeface="等线" panose="02010600030101010101" pitchFamily="2" charset="-122"/>
              <a:cs typeface="Times New Roman" panose="02020603050405020304" pitchFamily="18" charset="0"/>
            </a:endParaRPr>
          </a:p>
        </p:txBody>
      </p:sp>
      <p:sp>
        <p:nvSpPr>
          <p:cNvPr id="33" name="文本框 32">
            <a:extLst>
              <a:ext uri="{FF2B5EF4-FFF2-40B4-BE49-F238E27FC236}">
                <a16:creationId xmlns:a16="http://schemas.microsoft.com/office/drawing/2014/main" id="{E19A04A7-DCA5-818B-9396-1D8D258A9F9E}"/>
              </a:ext>
            </a:extLst>
          </p:cNvPr>
          <p:cNvSpPr txBox="1"/>
          <p:nvPr/>
        </p:nvSpPr>
        <p:spPr>
          <a:xfrm>
            <a:off x="8702067" y="1053222"/>
            <a:ext cx="3269625" cy="646331"/>
          </a:xfrm>
          <a:prstGeom prst="rect">
            <a:avLst/>
          </a:prstGeom>
          <a:noFill/>
        </p:spPr>
        <p:txBody>
          <a:bodyPr wrap="square">
            <a:spAutoFit/>
          </a:bodyPr>
          <a:lstStyle/>
          <a:p>
            <a:pPr marL="0" marR="0" algn="ctr">
              <a:spcBef>
                <a:spcPts val="0"/>
              </a:spcBef>
              <a:spcAft>
                <a:spcPts val="0"/>
              </a:spcAft>
            </a:pPr>
            <a:r>
              <a:rPr lang="en-US" altLang="zh-CN" sz="1800" b="1" kern="100" dirty="0">
                <a:effectLst/>
                <a:latin typeface="Calibri" panose="020F0502020204030204" pitchFamily="34" charset="0"/>
                <a:ea typeface="等线" panose="02010600030101010101" pitchFamily="2" charset="-122"/>
                <a:cs typeface="Calibri" panose="020F0502020204030204" pitchFamily="34" charset="0"/>
              </a:rPr>
              <a:t>Close Proximity in Open Space</a:t>
            </a:r>
          </a:p>
          <a:p>
            <a:pPr marL="0" marR="0" algn="ctr">
              <a:spcBef>
                <a:spcPts val="0"/>
              </a:spcBef>
              <a:spcAft>
                <a:spcPts val="0"/>
              </a:spcAft>
            </a:pPr>
            <a:r>
              <a:rPr lang="en-US" altLang="zh-CN" sz="1800" b="1" kern="100" dirty="0">
                <a:effectLst/>
                <a:latin typeface="Calibri" panose="020F0502020204030204" pitchFamily="34" charset="0"/>
                <a:ea typeface="等线" panose="02010600030101010101" pitchFamily="2" charset="-122"/>
                <a:cs typeface="Calibri" panose="020F0502020204030204" pitchFamily="34" charset="0"/>
              </a:rPr>
              <a:t> </a:t>
            </a:r>
            <a:r>
              <a:rPr lang="en-US" altLang="zh-CN" sz="1800" b="1" kern="100" dirty="0">
                <a:effectLst/>
                <a:latin typeface="Calibri" panose="020F0502020204030204" pitchFamily="34" charset="0"/>
                <a:ea typeface="等线" panose="02010600030101010101" pitchFamily="2" charset="-122"/>
                <a:cs typeface="Times New Roman" panose="02020603050405020304" pitchFamily="18" charset="0"/>
              </a:rPr>
              <a:t>–</a:t>
            </a:r>
            <a:r>
              <a:rPr lang="en-US" altLang="zh-CN" sz="1800" b="1" kern="100" dirty="0">
                <a:effectLst/>
                <a:latin typeface="等线" panose="02010600030101010101" pitchFamily="2" charset="-122"/>
                <a:ea typeface="等线" panose="02010600030101010101" pitchFamily="2" charset="-122"/>
                <a:cs typeface="Calibri" panose="020F0502020204030204" pitchFamily="34" charset="0"/>
              </a:rPr>
              <a:t> </a:t>
            </a:r>
            <a:r>
              <a:rPr lang="en-US" altLang="zh-CN" sz="1800" b="1" kern="100" dirty="0">
                <a:effectLst/>
                <a:latin typeface="Calibri" panose="020F0502020204030204" pitchFamily="34" charset="0"/>
                <a:ea typeface="等线" panose="02010600030101010101" pitchFamily="2" charset="-122"/>
                <a:cs typeface="Calibri" panose="020F0502020204030204" pitchFamily="34" charset="0"/>
              </a:rPr>
              <a:t>Dungeon N</a:t>
            </a:r>
            <a:endParaRPr lang="en-US" altLang="zh-CN" sz="1400" kern="100" dirty="0">
              <a:effectLst/>
              <a:latin typeface="等线" panose="02010600030101010101" pitchFamily="2" charset="-122"/>
              <a:ea typeface="等线" panose="02010600030101010101" pitchFamily="2" charset="-122"/>
              <a:cs typeface="Times New Roman" panose="02020603050405020304" pitchFamily="18" charset="0"/>
            </a:endParaRPr>
          </a:p>
        </p:txBody>
      </p:sp>
      <p:sp>
        <p:nvSpPr>
          <p:cNvPr id="35" name="文本框 34">
            <a:extLst>
              <a:ext uri="{FF2B5EF4-FFF2-40B4-BE49-F238E27FC236}">
                <a16:creationId xmlns:a16="http://schemas.microsoft.com/office/drawing/2014/main" id="{4F17CE20-0234-1111-4A83-425BEB144277}"/>
              </a:ext>
            </a:extLst>
          </p:cNvPr>
          <p:cNvSpPr txBox="1"/>
          <p:nvPr/>
        </p:nvSpPr>
        <p:spPr>
          <a:xfrm>
            <a:off x="452371" y="3983785"/>
            <a:ext cx="6094926" cy="369332"/>
          </a:xfrm>
          <a:prstGeom prst="rect">
            <a:avLst/>
          </a:prstGeom>
          <a:noFill/>
        </p:spPr>
        <p:txBody>
          <a:bodyPr wrap="square">
            <a:spAutoFit/>
          </a:bodyPr>
          <a:lstStyle/>
          <a:p>
            <a:pPr marL="0" marR="0" algn="just">
              <a:spcBef>
                <a:spcPts val="0"/>
              </a:spcBef>
              <a:spcAft>
                <a:spcPts val="0"/>
              </a:spcAft>
            </a:pPr>
            <a:r>
              <a:rPr lang="en-US" altLang="zh-CN" sz="1800" b="1" kern="100" dirty="0">
                <a:effectLst/>
                <a:latin typeface="Calibri" panose="020F0502020204030204" pitchFamily="34" charset="0"/>
                <a:ea typeface="等线" panose="02010600030101010101" pitchFamily="2" charset="-122"/>
                <a:cs typeface="Calibri" panose="020F0502020204030204" pitchFamily="34" charset="0"/>
              </a:rPr>
              <a:t>Narrow Corridor with Limited Exits </a:t>
            </a:r>
            <a:r>
              <a:rPr lang="en-US" altLang="zh-CN" sz="1800" b="1" kern="100" dirty="0">
                <a:effectLst/>
                <a:latin typeface="Calibri" panose="020F0502020204030204" pitchFamily="34" charset="0"/>
                <a:ea typeface="等线" panose="02010600030101010101" pitchFamily="2" charset="-122"/>
                <a:cs typeface="Times New Roman" panose="02020603050405020304" pitchFamily="18" charset="0"/>
              </a:rPr>
              <a:t>–</a:t>
            </a:r>
            <a:r>
              <a:rPr lang="en-US" altLang="zh-CN" sz="1800" b="1" kern="100" dirty="0">
                <a:effectLst/>
                <a:latin typeface="等线" panose="02010600030101010101" pitchFamily="2" charset="-122"/>
                <a:ea typeface="等线" panose="02010600030101010101" pitchFamily="2" charset="-122"/>
                <a:cs typeface="Calibri" panose="020F0502020204030204" pitchFamily="34" charset="0"/>
              </a:rPr>
              <a:t> </a:t>
            </a:r>
            <a:r>
              <a:rPr lang="en-US" altLang="zh-CN" sz="1800" b="1" kern="100" dirty="0">
                <a:effectLst/>
                <a:latin typeface="Calibri" panose="020F0502020204030204" pitchFamily="34" charset="0"/>
                <a:ea typeface="等线" panose="02010600030101010101" pitchFamily="2" charset="-122"/>
                <a:cs typeface="Calibri" panose="020F0502020204030204" pitchFamily="34" charset="0"/>
              </a:rPr>
              <a:t>Dungeon D</a:t>
            </a:r>
            <a:endParaRPr lang="en-US" altLang="zh-CN" sz="1400" kern="100" dirty="0">
              <a:effectLst/>
              <a:latin typeface="等线" panose="02010600030101010101" pitchFamily="2" charset="-122"/>
              <a:ea typeface="等线" panose="02010600030101010101" pitchFamily="2" charset="-122"/>
              <a:cs typeface="Times New Roman" panose="02020603050405020304" pitchFamily="18" charset="0"/>
            </a:endParaRPr>
          </a:p>
        </p:txBody>
      </p:sp>
      <p:sp>
        <p:nvSpPr>
          <p:cNvPr id="37" name="文本框 36">
            <a:extLst>
              <a:ext uri="{FF2B5EF4-FFF2-40B4-BE49-F238E27FC236}">
                <a16:creationId xmlns:a16="http://schemas.microsoft.com/office/drawing/2014/main" id="{F2B9C69F-90BF-D0D1-5498-0B0B02E2AD68}"/>
              </a:ext>
            </a:extLst>
          </p:cNvPr>
          <p:cNvSpPr txBox="1"/>
          <p:nvPr/>
        </p:nvSpPr>
        <p:spPr>
          <a:xfrm>
            <a:off x="5318066" y="5481612"/>
            <a:ext cx="1982518" cy="646331"/>
          </a:xfrm>
          <a:prstGeom prst="rect">
            <a:avLst/>
          </a:prstGeom>
          <a:noFill/>
        </p:spPr>
        <p:txBody>
          <a:bodyPr wrap="square">
            <a:spAutoFit/>
          </a:bodyPr>
          <a:lstStyle/>
          <a:p>
            <a:pPr marL="0" marR="0" algn="ctr">
              <a:spcBef>
                <a:spcPts val="0"/>
              </a:spcBef>
              <a:spcAft>
                <a:spcPts val="0"/>
              </a:spcAft>
            </a:pPr>
            <a:r>
              <a:rPr lang="en-US" altLang="zh-CN" sz="1800" b="1" kern="100" dirty="0">
                <a:effectLst/>
                <a:latin typeface="Calibri" panose="020F0502020204030204" pitchFamily="34" charset="0"/>
                <a:ea typeface="等线" panose="02010600030101010101" pitchFamily="2" charset="-122"/>
                <a:cs typeface="Calibri" panose="020F0502020204030204" pitchFamily="34" charset="0"/>
              </a:rPr>
              <a:t>Separate Space</a:t>
            </a:r>
          </a:p>
          <a:p>
            <a:pPr marL="0" marR="0" algn="ctr">
              <a:spcBef>
                <a:spcPts val="0"/>
              </a:spcBef>
              <a:spcAft>
                <a:spcPts val="0"/>
              </a:spcAft>
            </a:pPr>
            <a:r>
              <a:rPr lang="en-US" altLang="zh-CN" sz="1800" b="1" kern="100" dirty="0">
                <a:effectLst/>
                <a:latin typeface="Calibri" panose="020F0502020204030204" pitchFamily="34" charset="0"/>
                <a:ea typeface="等线" panose="02010600030101010101" pitchFamily="2" charset="-122"/>
                <a:cs typeface="Times New Roman" panose="02020603050405020304" pitchFamily="18" charset="0"/>
              </a:rPr>
              <a:t>–</a:t>
            </a:r>
            <a:r>
              <a:rPr lang="en-US" altLang="zh-CN" sz="1800" b="1" kern="100" dirty="0">
                <a:effectLst/>
                <a:latin typeface="等线" panose="02010600030101010101" pitchFamily="2" charset="-122"/>
                <a:ea typeface="等线" panose="02010600030101010101" pitchFamily="2" charset="-122"/>
                <a:cs typeface="Calibri" panose="020F0502020204030204" pitchFamily="34" charset="0"/>
              </a:rPr>
              <a:t> </a:t>
            </a:r>
            <a:r>
              <a:rPr lang="en-US" altLang="zh-CN" sz="1800" b="1" kern="100" dirty="0">
                <a:effectLst/>
                <a:latin typeface="Calibri" panose="020F0502020204030204" pitchFamily="34" charset="0"/>
                <a:ea typeface="等线" panose="02010600030101010101" pitchFamily="2" charset="-122"/>
                <a:cs typeface="Calibri" panose="020F0502020204030204" pitchFamily="34" charset="0"/>
              </a:rPr>
              <a:t>Dungeon M</a:t>
            </a:r>
            <a:endParaRPr lang="en-US" altLang="zh-CN" sz="1400" kern="100" dirty="0">
              <a:effectLst/>
              <a:latin typeface="等线" panose="02010600030101010101" pitchFamily="2" charset="-122"/>
              <a:ea typeface="等线" panose="02010600030101010101" pitchFamily="2" charset="-122"/>
              <a:cs typeface="Times New Roman" panose="02020603050405020304" pitchFamily="18" charset="0"/>
            </a:endParaRPr>
          </a:p>
        </p:txBody>
      </p:sp>
      <p:sp>
        <p:nvSpPr>
          <p:cNvPr id="38" name="箭头: 十字 37">
            <a:extLst>
              <a:ext uri="{FF2B5EF4-FFF2-40B4-BE49-F238E27FC236}">
                <a16:creationId xmlns:a16="http://schemas.microsoft.com/office/drawing/2014/main" id="{FBC161A0-A239-DC38-8824-3C410940EC07}"/>
              </a:ext>
            </a:extLst>
          </p:cNvPr>
          <p:cNvSpPr/>
          <p:nvPr/>
        </p:nvSpPr>
        <p:spPr>
          <a:xfrm>
            <a:off x="6445776" y="3830610"/>
            <a:ext cx="855265" cy="845262"/>
          </a:xfrm>
          <a:prstGeom prst="quadArrow">
            <a:avLst/>
          </a:prstGeom>
          <a:solidFill>
            <a:schemeClr val="tx2">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ustDataLst>
      <p:tags r:id="rId1"/>
    </p:custDataLst>
    <p:extLst>
      <p:ext uri="{BB962C8B-B14F-4D97-AF65-F5344CB8AC3E}">
        <p14:creationId xmlns:p14="http://schemas.microsoft.com/office/powerpoint/2010/main" val="2611817050"/>
      </p:ext>
    </p:extLst>
  </p:cSld>
  <p:clrMapOvr>
    <a:masterClrMapping/>
  </p:clrMapOvr>
  <mc:AlternateContent xmlns:mc="http://schemas.openxmlformats.org/markup-compatibility/2006" xmlns:p14="http://schemas.microsoft.com/office/powerpoint/2010/main">
    <mc:Choice Requires="p14">
      <p:transition spd="slow" p14:dur="1500" advClick="0" advTm="1000">
        <p:random/>
      </p:transition>
    </mc:Choice>
    <mc:Fallback xmlns="">
      <p:transition spd="slow" advClick="0" advTm="1000">
        <p:random/>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ISLIDE.DIAGRAM" val="#914573;"/>
</p:tagLst>
</file>

<file path=ppt/tags/tag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xml><?xml version="1.0" encoding="utf-8"?>
<p:tagLst xmlns:a="http://schemas.openxmlformats.org/drawingml/2006/main" xmlns:r="http://schemas.openxmlformats.org/officeDocument/2006/relationships" xmlns:p="http://schemas.openxmlformats.org/presentationml/2006/main">
  <p:tag name="ISLIDE.DIAGRAM" val="#914573;"/>
</p:tagLst>
</file>

<file path=ppt/tags/tag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heme/theme1.xml><?xml version="1.0" encoding="utf-8"?>
<a:theme xmlns:a="http://schemas.openxmlformats.org/drawingml/2006/main" name="1_Office 主题​​">
  <a:themeElements>
    <a:clrScheme name="Office">
      <a:dk1>
        <a:srgbClr val="000000"/>
      </a:dk1>
      <a:lt1>
        <a:srgbClr val="FFFFFF"/>
      </a:lt1>
      <a:dk2>
        <a:srgbClr val="778495"/>
      </a:dk2>
      <a:lt2>
        <a:srgbClr val="F0F0F0"/>
      </a:lt2>
      <a:accent1>
        <a:srgbClr val="4759FF"/>
      </a:accent1>
      <a:accent2>
        <a:srgbClr val="5465FF"/>
      </a:accent2>
      <a:accent3>
        <a:srgbClr val="788BFF"/>
      </a:accent3>
      <a:accent4>
        <a:srgbClr val="9BB1FF"/>
      </a:accent4>
      <a:accent5>
        <a:srgbClr val="BFD7FF"/>
      </a:accent5>
      <a:accent6>
        <a:srgbClr val="E2FDFF"/>
      </a:accent6>
      <a:hlink>
        <a:srgbClr val="4759FF"/>
      </a:hlink>
      <a:folHlink>
        <a:srgbClr val="BFBFBF"/>
      </a:folHlink>
    </a:clrScheme>
    <a:fontScheme name="font">
      <a:majorFont>
        <a:latin typeface="等线 Light"/>
        <a:ea typeface="等线 Light"/>
        <a:cs typeface=""/>
      </a:majorFont>
      <a:minorFont>
        <a:latin typeface="等线"/>
        <a:ea typeface="等线"/>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rgbClr val="000000"/>
    </a:dk1>
    <a:lt1>
      <a:srgbClr val="FFFFFF"/>
    </a:lt1>
    <a:dk2>
      <a:srgbClr val="778495"/>
    </a:dk2>
    <a:lt2>
      <a:srgbClr val="F0F0F0"/>
    </a:lt2>
    <a:accent1>
      <a:srgbClr val="4759FF"/>
    </a:accent1>
    <a:accent2>
      <a:srgbClr val="5465FF"/>
    </a:accent2>
    <a:accent3>
      <a:srgbClr val="788BFF"/>
    </a:accent3>
    <a:accent4>
      <a:srgbClr val="9BB1FF"/>
    </a:accent4>
    <a:accent5>
      <a:srgbClr val="BFD7FF"/>
    </a:accent5>
    <a:accent6>
      <a:srgbClr val="E2FDFF"/>
    </a:accent6>
    <a:hlink>
      <a:srgbClr val="4759FF"/>
    </a:hlink>
    <a:folHlink>
      <a:srgbClr val="BFBFBF"/>
    </a:folHlink>
  </a:clrScheme>
</a:themeOverride>
</file>

<file path=ppt/theme/themeOverride2.xml><?xml version="1.0" encoding="utf-8"?>
<a:themeOverride xmlns:a="http://schemas.openxmlformats.org/drawingml/2006/main">
  <a:clrScheme name="Office">
    <a:dk1>
      <a:srgbClr val="000000"/>
    </a:dk1>
    <a:lt1>
      <a:srgbClr val="FFFFFF"/>
    </a:lt1>
    <a:dk2>
      <a:srgbClr val="778495"/>
    </a:dk2>
    <a:lt2>
      <a:srgbClr val="F0F0F0"/>
    </a:lt2>
    <a:accent1>
      <a:srgbClr val="4759FF"/>
    </a:accent1>
    <a:accent2>
      <a:srgbClr val="5465FF"/>
    </a:accent2>
    <a:accent3>
      <a:srgbClr val="788BFF"/>
    </a:accent3>
    <a:accent4>
      <a:srgbClr val="9BB1FF"/>
    </a:accent4>
    <a:accent5>
      <a:srgbClr val="BFD7FF"/>
    </a:accent5>
    <a:accent6>
      <a:srgbClr val="E2FDFF"/>
    </a:accent6>
    <a:hlink>
      <a:srgbClr val="4759FF"/>
    </a:hlink>
    <a:folHlink>
      <a:srgbClr val="BFBFBF"/>
    </a:folHlink>
  </a:clrScheme>
</a:themeOverride>
</file>

<file path=ppt/theme/themeOverride3.xml><?xml version="1.0" encoding="utf-8"?>
<a:themeOverride xmlns:a="http://schemas.openxmlformats.org/drawingml/2006/main">
  <a:clrScheme name="Office">
    <a:dk1>
      <a:srgbClr val="000000"/>
    </a:dk1>
    <a:lt1>
      <a:srgbClr val="FFFFFF"/>
    </a:lt1>
    <a:dk2>
      <a:srgbClr val="778495"/>
    </a:dk2>
    <a:lt2>
      <a:srgbClr val="F0F0F0"/>
    </a:lt2>
    <a:accent1>
      <a:srgbClr val="4759FF"/>
    </a:accent1>
    <a:accent2>
      <a:srgbClr val="5465FF"/>
    </a:accent2>
    <a:accent3>
      <a:srgbClr val="788BFF"/>
    </a:accent3>
    <a:accent4>
      <a:srgbClr val="9BB1FF"/>
    </a:accent4>
    <a:accent5>
      <a:srgbClr val="BFD7FF"/>
    </a:accent5>
    <a:accent6>
      <a:srgbClr val="E2FDFF"/>
    </a:accent6>
    <a:hlink>
      <a:srgbClr val="4759FF"/>
    </a:hlink>
    <a:folHlink>
      <a:srgbClr val="BFBFBF"/>
    </a:folHlink>
  </a:clrScheme>
</a:themeOverride>
</file>

<file path=ppt/theme/themeOverride4.xml><?xml version="1.0" encoding="utf-8"?>
<a:themeOverride xmlns:a="http://schemas.openxmlformats.org/drawingml/2006/main">
  <a:clrScheme name="Office">
    <a:dk1>
      <a:srgbClr val="000000"/>
    </a:dk1>
    <a:lt1>
      <a:srgbClr val="FFFFFF"/>
    </a:lt1>
    <a:dk2>
      <a:srgbClr val="778495"/>
    </a:dk2>
    <a:lt2>
      <a:srgbClr val="F0F0F0"/>
    </a:lt2>
    <a:accent1>
      <a:srgbClr val="4759FF"/>
    </a:accent1>
    <a:accent2>
      <a:srgbClr val="5465FF"/>
    </a:accent2>
    <a:accent3>
      <a:srgbClr val="788BFF"/>
    </a:accent3>
    <a:accent4>
      <a:srgbClr val="9BB1FF"/>
    </a:accent4>
    <a:accent5>
      <a:srgbClr val="BFD7FF"/>
    </a:accent5>
    <a:accent6>
      <a:srgbClr val="E2FDFF"/>
    </a:accent6>
    <a:hlink>
      <a:srgbClr val="4759FF"/>
    </a:hlink>
    <a:folHlink>
      <a:srgbClr val="BFBFBF"/>
    </a:folHlink>
  </a:clrScheme>
</a:themeOverride>
</file>

<file path=docProps/app.xml><?xml version="1.0" encoding="utf-8"?>
<Properties xmlns="http://schemas.openxmlformats.org/officeDocument/2006/extended-properties" xmlns:vt="http://schemas.openxmlformats.org/officeDocument/2006/docPropsVTypes">
  <TotalTime>196</TotalTime>
  <Words>717</Words>
  <Application>Microsoft Office PowerPoint</Application>
  <PresentationFormat>宽屏</PresentationFormat>
  <Paragraphs>157</Paragraphs>
  <Slides>13</Slides>
  <Notes>10</Notes>
  <HiddenSlides>0</HiddenSlides>
  <MMClips>0</MMClips>
  <ScaleCrop>false</ScaleCrop>
  <HeadingPairs>
    <vt:vector size="8" baseType="variant">
      <vt:variant>
        <vt:lpstr>已用的字体</vt:lpstr>
      </vt:variant>
      <vt:variant>
        <vt:i4>5</vt:i4>
      </vt:variant>
      <vt:variant>
        <vt:lpstr>主题</vt:lpstr>
      </vt:variant>
      <vt:variant>
        <vt:i4>1</vt:i4>
      </vt:variant>
      <vt:variant>
        <vt:lpstr>嵌入 OLE 服务器</vt:lpstr>
      </vt:variant>
      <vt:variant>
        <vt:i4>1</vt:i4>
      </vt:variant>
      <vt:variant>
        <vt:lpstr>幻灯片标题</vt:lpstr>
      </vt:variant>
      <vt:variant>
        <vt:i4>13</vt:i4>
      </vt:variant>
    </vt:vector>
  </HeadingPairs>
  <TitlesOfParts>
    <vt:vector size="20" baseType="lpstr">
      <vt:lpstr>Aa楷体</vt:lpstr>
      <vt:lpstr>等线</vt:lpstr>
      <vt:lpstr>等线 Light</vt:lpstr>
      <vt:lpstr>Arial</vt:lpstr>
      <vt:lpstr>Calibri</vt:lpstr>
      <vt:lpstr>1_Office 主题​​</vt:lpstr>
      <vt:lpstr>think-cell Slide</vt:lpstr>
      <vt:lpstr>The Intelligent Rogue Game </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Thank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成 佳妮</dc:creator>
  <cp:lastModifiedBy>哲源 曹</cp:lastModifiedBy>
  <cp:revision>10</cp:revision>
  <dcterms:created xsi:type="dcterms:W3CDTF">2021-08-02T12:56:42Z</dcterms:created>
  <dcterms:modified xsi:type="dcterms:W3CDTF">2024-05-31T13:11:37Z</dcterms:modified>
</cp:coreProperties>
</file>